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4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Category" id="{D3F1C8E5-2E0D-46A3-B370-D0DAE9C6526C}">
          <p14:sldIdLst>
            <p14:sldId id="2147475173"/>
            <p14:sldId id="2147475174"/>
            <p14:sldId id="2147475175"/>
            <p14:sldId id="2147475176"/>
            <p14:sldId id="2147475177"/>
            <p14:sldId id="2147475178"/>
            <p14:sldId id="2147475179"/>
            <p14:sldId id="2147475180"/>
            <p14:sldId id="2147475181"/>
          </p14:sldIdLst>
        </p14:section>
        <p14:section name="Brackets By Sector" id="{FABD8E9A-1044-4958-B420-994B22C793AE}">
          <p14:sldIdLst>
            <p14:sldId id="2147475182"/>
            <p14:sldId id="2147475183"/>
            <p14:sldId id="2147475184"/>
            <p14:sldId id="2147475185"/>
            <p14:sldId id="2147475186"/>
            <p14:sldId id="2147475187"/>
            <p14:sldId id="2147475188"/>
            <p14:sldId id="2147475189"/>
            <p14:sldId id="2147475190"/>
          </p14:sldIdLst>
        </p14:section>
        <p14:section name="Brackets By Segment" id="{5FF5110A-D408-46D9-BEC2-0BED98A81187}">
          <p14:sldIdLst>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notesMaster" Target="notesMasters/notesMaster1.xml"/><Relationship Id="rId42" Type="http://schemas.openxmlformats.org/officeDocument/2006/relationships/presProps" Target="presProps.xml"/><Relationship Id="rId43" Type="http://schemas.openxmlformats.org/officeDocument/2006/relationships/viewProps" Target="viewProps.xml"/><Relationship Id="rId44" Type="http://schemas.openxmlformats.org/officeDocument/2006/relationships/theme" Target="theme/theme1.xml"/><Relationship Id="rId45" Type="http://schemas.openxmlformats.org/officeDocument/2006/relationships/tableStyles" Target="tableStyles.xml"/><Relationship Id="rId46" Type="http://schemas.microsoft.com/office/2015/10/relationships/revisionInfo" Target="revisionInfo.xml"/><Relationship Id="rId4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32391085099796</c:v>
                </c:pt>
                <c:pt idx="1">
                  <c:v>0.030029374209639585</c:v>
                </c:pt>
                <c:pt idx="2">
                  <c:v>0.013260072235208328</c:v>
                </c:pt>
                <c:pt idx="3">
                  <c:v>0.041537920103246036</c:v>
                </c:pt>
                <c:pt idx="4">
                  <c:v>0.07556227083183126</c:v>
                </c:pt>
                <c:pt idx="5">
                  <c:v>0.06154028409509541</c:v>
                </c:pt>
                <c:pt idx="6">
                  <c:v>0.1831223576647234</c:v>
                </c:pt>
                <c:pt idx="7">
                  <c:v>0.2679416452737607</c:v>
                </c:pt>
                <c:pt idx="8">
                  <c:v>0.12529305571168425</c:v>
                </c:pt>
                <c:pt idx="9">
                  <c:v>0.11952001296739617</c:v>
                </c:pt>
                <c:pt idx="10">
                  <c:v>0.07383488507536885</c:v>
                </c:pt>
                <c:pt idx="11">
                  <c:v>0.00097924674007412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4">
                  <c:v>0.008123258798760101</c:v>
                </c:pt>
                <c:pt idx="6">
                  <c:v>0.0019586700359540744</c:v>
                </c:pt>
                <c:pt idx="7">
                  <c:v>0.008880963282224425</c:v>
                </c:pt>
                <c:pt idx="10">
                  <c:v>0.00605121704502577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7403361837539186</c:v>
                </c:pt>
                <c:pt idx="2">
                  <c:v>0.04915668720181369</c:v>
                </c:pt>
                <c:pt idx="3">
                  <c:v>0.015322460926377875</c:v>
                </c:pt>
                <c:pt idx="4">
                  <c:v>0.0036291236589418288</c:v>
                </c:pt>
                <c:pt idx="5">
                  <c:v>0.43551058204344495</c:v>
                </c:pt>
                <c:pt idx="8">
                  <c:v>0.47945154934812423</c:v>
                </c:pt>
                <c:pt idx="9">
                  <c:v>0.01518926063754356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287810242930142</c:v>
                </c:pt>
                <c:pt idx="1">
                  <c:v>0.020023523609660875</c:v>
                </c:pt>
                <c:pt idx="2">
                  <c:v>0.013723429107454667</c:v>
                </c:pt>
                <c:pt idx="3">
                  <c:v>0.07129344466409372</c:v>
                </c:pt>
                <c:pt idx="4">
                  <c:v>0.04793878273161689</c:v>
                </c:pt>
                <c:pt idx="5">
                  <c:v>0.1656881657217858</c:v>
                </c:pt>
                <c:pt idx="6">
                  <c:v>0.059864438195894244</c:v>
                </c:pt>
                <c:pt idx="7">
                  <c:v>0.16391615246101154</c:v>
                </c:pt>
                <c:pt idx="8">
                  <c:v>0.2609160386574467</c:v>
                </c:pt>
                <c:pt idx="9">
                  <c:v>0.08686249520688337</c:v>
                </c:pt>
                <c:pt idx="10">
                  <c:v>0.1052816373234158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10098768442806877</c:v>
                </c:pt>
                <c:pt idx="3">
                  <c:v>0.008479239880879232</c:v>
                </c:pt>
                <c:pt idx="5">
                  <c:v>0.0009400241152511937</c:v>
                </c:pt>
                <c:pt idx="8">
                  <c:v>0.009185874751290178</c:v>
                </c:pt>
                <c:pt idx="9">
                  <c:v>0.001643238389048437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128333822640951</c:v>
                </c:pt>
                <c:pt idx="6">
                  <c:v>0.06734849459052232</c:v>
                </c:pt>
                <c:pt idx="7">
                  <c:v>0.016386580516175052</c:v>
                </c:pt>
                <c:pt idx="9">
                  <c:v>0.05412728953504454</c:v>
                </c:pt>
                <c:pt idx="10">
                  <c:v>0.4374843927045447</c:v>
                </c:pt>
                <c:pt idx="11">
                  <c:v>0.01181986038961826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1436449174607335</c:v>
                </c:pt>
                <c:pt idx="2">
                  <c:v>0.029401906875188205</c:v>
                </c:pt>
                <c:pt idx="3">
                  <c:v>0.12607359527604595</c:v>
                </c:pt>
                <c:pt idx="5">
                  <c:v>0.25213010765919697</c:v>
                </c:pt>
                <c:pt idx="6">
                  <c:v>0.002457809121343675</c:v>
                </c:pt>
                <c:pt idx="7">
                  <c:v>0.008552129724142214</c:v>
                </c:pt>
                <c:pt idx="8">
                  <c:v>0.3913236406727844</c:v>
                </c:pt>
                <c:pt idx="9">
                  <c:v>0.1757517287919234</c:v>
                </c:pt>
                <c:pt idx="10">
                  <c:v>0.002583863736266491</c:v>
                </c:pt>
                <c:pt idx="11">
                  <c:v>0.00425310559201742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9601321791568938</c:v>
                </c:pt>
                <c:pt idx="3">
                  <c:v>0.008431721491186019</c:v>
                </c:pt>
                <c:pt idx="5">
                  <c:v>0.0031929542536860422</c:v>
                </c:pt>
                <c:pt idx="8">
                  <c:v>0.010638531109486055</c:v>
                </c:pt>
                <c:pt idx="9">
                  <c:v>0.000671729707994251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346241200463286</c:v>
                </c:pt>
                <c:pt idx="6">
                  <c:v>0.06130635469218953</c:v>
                </c:pt>
                <c:pt idx="7">
                  <c:v>0.025558696901447086</c:v>
                </c:pt>
                <c:pt idx="9">
                  <c:v>0.004820224078680782</c:v>
                </c:pt>
                <c:pt idx="10">
                  <c:v>0.47369060428135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7317326504995634</c:v>
                </c:pt>
                <c:pt idx="2">
                  <c:v>0.0491721026051903</c:v>
                </c:pt>
                <c:pt idx="3">
                  <c:v>0.015327587220883452</c:v>
                </c:pt>
                <c:pt idx="4">
                  <c:v>0.0036267341626128333</c:v>
                </c:pt>
                <c:pt idx="5">
                  <c:v>0.43558655845726546</c:v>
                </c:pt>
                <c:pt idx="8">
                  <c:v>0.4793645137897594</c:v>
                </c:pt>
                <c:pt idx="9">
                  <c:v>0.01519077111378892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916103438794086</c:v>
                </c:pt>
                <c:pt idx="1">
                  <c:v>0.01931035187950785</c:v>
                </c:pt>
                <c:pt idx="2">
                  <c:v>0.015668853518267908</c:v>
                </c:pt>
                <c:pt idx="3">
                  <c:v>0.07156373157411233</c:v>
                </c:pt>
                <c:pt idx="4">
                  <c:v>0.04899606423148349</c:v>
                </c:pt>
                <c:pt idx="5">
                  <c:v>0.1741581226481188</c:v>
                </c:pt>
                <c:pt idx="6">
                  <c:v>0.06974954014798469</c:v>
                </c:pt>
                <c:pt idx="7">
                  <c:v>0.1476034189582902</c:v>
                </c:pt>
                <c:pt idx="8">
                  <c:v>0.2597462502277981</c:v>
                </c:pt>
                <c:pt idx="9">
                  <c:v>0.08482160227351104</c:v>
                </c:pt>
                <c:pt idx="10">
                  <c:v>0.10281938118700142</c:v>
                </c:pt>
                <c:pt idx="11">
                  <c:v>0.00063486379337584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25223213252394106</c:v>
                </c:pt>
                <c:pt idx="7">
                  <c:v>0.008084425251392193</c:v>
                </c:pt>
                <c:pt idx="10">
                  <c:v>0.00532562208518244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157831972021869</c:v>
                </c:pt>
                <c:pt idx="6">
                  <c:v>0.0701017421469276</c:v>
                </c:pt>
                <c:pt idx="7">
                  <c:v>0.021967721720985125</c:v>
                </c:pt>
                <c:pt idx="9">
                  <c:v>0.052986577548062776</c:v>
                </c:pt>
                <c:pt idx="10">
                  <c:v>0.43453376004045885</c:v>
                </c:pt>
                <c:pt idx="11">
                  <c:v>0.0034472484479923177</c:v>
                </c:pt>
                <c:pt idx="12">
                  <c:v>0.000547874954858679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9">
                  <c:v>0.002823103537123414</c:v>
                </c:pt>
                <c:pt idx="10">
                  <c:v>0.0854145628596246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7403361837539186</c:v>
                </c:pt>
                <c:pt idx="2">
                  <c:v>0.04915668720181369</c:v>
                </c:pt>
                <c:pt idx="3">
                  <c:v>0.015322460926377875</c:v>
                </c:pt>
                <c:pt idx="4">
                  <c:v>0.0036291236589418288</c:v>
                </c:pt>
                <c:pt idx="5">
                  <c:v>0.43551058204344495</c:v>
                </c:pt>
                <c:pt idx="8">
                  <c:v>0.47945154934812423</c:v>
                </c:pt>
                <c:pt idx="9">
                  <c:v>0.01518926063754356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7">
                  <c:v>0.021349189784337294</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287810242930142</c:v>
                </c:pt>
                <c:pt idx="1">
                  <c:v>0.020023523609660875</c:v>
                </c:pt>
                <c:pt idx="2">
                  <c:v>0.013723429107454667</c:v>
                </c:pt>
                <c:pt idx="3">
                  <c:v>0.07129344466409372</c:v>
                </c:pt>
                <c:pt idx="4">
                  <c:v>0.04793878273161689</c:v>
                </c:pt>
                <c:pt idx="5">
                  <c:v>0.1656881657217858</c:v>
                </c:pt>
                <c:pt idx="6">
                  <c:v>0.059864438195894244</c:v>
                </c:pt>
                <c:pt idx="7">
                  <c:v>0.16391615246101154</c:v>
                </c:pt>
                <c:pt idx="8">
                  <c:v>0.2609160386574467</c:v>
                </c:pt>
                <c:pt idx="9">
                  <c:v>0.08686249520688337</c:v>
                </c:pt>
                <c:pt idx="10">
                  <c:v>0.1052816373234158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2476399280447082</c:v>
                </c:pt>
                <c:pt idx="7">
                  <c:v>0.009166887961390938</c:v>
                </c:pt>
                <c:pt idx="10">
                  <c:v>0.00737641519636144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128333822640951</c:v>
                </c:pt>
                <c:pt idx="6">
                  <c:v>0.06734849459052232</c:v>
                </c:pt>
                <c:pt idx="7">
                  <c:v>0.016386580516175052</c:v>
                </c:pt>
                <c:pt idx="9">
                  <c:v>0.05412728953504454</c:v>
                </c:pt>
                <c:pt idx="10">
                  <c:v>0.4374843927045447</c:v>
                </c:pt>
                <c:pt idx="11">
                  <c:v>0.01181986038961826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9">
                  <c:v>0.0050850788674914535</c:v>
                </c:pt>
                <c:pt idx="10">
                  <c:v>0.0949460265390746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1436449174607335</c:v>
                </c:pt>
                <c:pt idx="2">
                  <c:v>0.029401906875188205</c:v>
                </c:pt>
                <c:pt idx="3">
                  <c:v>0.12607359527604595</c:v>
                </c:pt>
                <c:pt idx="5">
                  <c:v>0.25213010765919697</c:v>
                </c:pt>
                <c:pt idx="6">
                  <c:v>0.002457809121343675</c:v>
                </c:pt>
                <c:pt idx="7">
                  <c:v>0.008552129724142214</c:v>
                </c:pt>
                <c:pt idx="8">
                  <c:v>0.3913236406727844</c:v>
                </c:pt>
                <c:pt idx="9">
                  <c:v>0.1757517287919234</c:v>
                </c:pt>
                <c:pt idx="10">
                  <c:v>0.002583863736266491</c:v>
                </c:pt>
                <c:pt idx="11">
                  <c:v>0.00425310559201742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5043553068305772</c:v>
                </c:pt>
                <c:pt idx="7">
                  <c:v>0.011625394479847445</c:v>
                </c:pt>
                <c:pt idx="10">
                  <c:v>0.00745149348211737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346241200463286</c:v>
                </c:pt>
                <c:pt idx="6">
                  <c:v>0.06130635469218953</c:v>
                </c:pt>
                <c:pt idx="7">
                  <c:v>0.025558696901447086</c:v>
                </c:pt>
                <c:pt idx="9">
                  <c:v>0.004820224078680782</c:v>
                </c:pt>
                <c:pt idx="10">
                  <c:v>0.47369060428135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9">
                  <c:v>0.004820224078680782</c:v>
                </c:pt>
                <c:pt idx="10">
                  <c:v>0.1127746169669212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7317326504995634</c:v>
                </c:pt>
                <c:pt idx="2">
                  <c:v>0.0491721026051903</c:v>
                </c:pt>
                <c:pt idx="3">
                  <c:v>0.015327587220883452</c:v>
                </c:pt>
                <c:pt idx="4">
                  <c:v>0.0036267341626128333</c:v>
                </c:pt>
                <c:pt idx="5">
                  <c:v>0.43558655845726546</c:v>
                </c:pt>
                <c:pt idx="8">
                  <c:v>0.4793645137897594</c:v>
                </c:pt>
                <c:pt idx="9">
                  <c:v>0.01519077111378892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7">
                  <c:v>0.02135647756597255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8209817276612301</c:v>
                </c:pt>
                <c:pt idx="2">
                  <c:v>0.02766692599215401</c:v>
                </c:pt>
                <c:pt idx="3">
                  <c:v>0.12152540134740045</c:v>
                </c:pt>
                <c:pt idx="4">
                  <c:v>0.08807155321736132</c:v>
                </c:pt>
                <c:pt idx="5">
                  <c:v>0.163995415849171</c:v>
                </c:pt>
                <c:pt idx="6">
                  <c:v>0.003897012284749402</c:v>
                </c:pt>
                <c:pt idx="7">
                  <c:v>0.0662353207000244</c:v>
                </c:pt>
                <c:pt idx="8">
                  <c:v>0.2660643777363146</c:v>
                </c:pt>
                <c:pt idx="9">
                  <c:v>0.16673327506438138</c:v>
                </c:pt>
                <c:pt idx="10">
                  <c:v>0.01322740057405335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4">
                  <c:v>0.051006066755415164</c:v>
                </c:pt>
                <c:pt idx="6">
                  <c:v>0.026441561849660927</c:v>
                </c:pt>
                <c:pt idx="7">
                  <c:v>0.08803892884481457</c:v>
                </c:pt>
                <c:pt idx="9">
                  <c:v>0.03889885955327180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3554807916989727</c:v>
                </c:pt>
                <c:pt idx="3">
                  <c:v>0.04216919235477574</c:v>
                </c:pt>
                <c:pt idx="5">
                  <c:v>0.23572846538239825</c:v>
                </c:pt>
                <c:pt idx="6">
                  <c:v>0.07586484225238363</c:v>
                </c:pt>
                <c:pt idx="7">
                  <c:v>0.46044242473977526</c:v>
                </c:pt>
                <c:pt idx="8">
                  <c:v>0.09213177539598617</c:v>
                </c:pt>
                <c:pt idx="9">
                  <c:v>0.05260292959458459</c:v>
                </c:pt>
                <c:pt idx="10">
                  <c:v>0.00549467350340432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7">
                  <c:v>0.002414596290795131</c:v>
                </c:pt>
                <c:pt idx="10">
                  <c:v>0.00478595248592671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3013241656142988</c:v>
                </c:pt>
                <c:pt idx="1">
                  <c:v>0.007082202882835808</c:v>
                </c:pt>
                <c:pt idx="2">
                  <c:v>0.0020858669724864447</c:v>
                </c:pt>
                <c:pt idx="3">
                  <c:v>0.055909517785081346</c:v>
                </c:pt>
                <c:pt idx="4">
                  <c:v>0.03996947051207336</c:v>
                </c:pt>
                <c:pt idx="5">
                  <c:v>0.08514135082257397</c:v>
                </c:pt>
                <c:pt idx="6">
                  <c:v>0.041671457423834685</c:v>
                </c:pt>
                <c:pt idx="7">
                  <c:v>0.20000586803223158</c:v>
                </c:pt>
                <c:pt idx="8">
                  <c:v>0.18311481008226255</c:v>
                </c:pt>
                <c:pt idx="9">
                  <c:v>0.17550032995913264</c:v>
                </c:pt>
                <c:pt idx="10">
                  <c:v>0.206505883871344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797037320037875</c:v>
                </c:pt>
                <c:pt idx="1">
                  <c:v>0.04515678141971852</c:v>
                </c:pt>
                <c:pt idx="2">
                  <c:v>0.02112423928770644</c:v>
                </c:pt>
                <c:pt idx="3">
                  <c:v>0.13820454776849406</c:v>
                </c:pt>
                <c:pt idx="4">
                  <c:v>0.07402089548219276</c:v>
                </c:pt>
                <c:pt idx="5">
                  <c:v>0.34672443505720385</c:v>
                </c:pt>
                <c:pt idx="6">
                  <c:v>0.14139907863558362</c:v>
                </c:pt>
                <c:pt idx="7">
                  <c:v>0.13967776059534132</c:v>
                </c:pt>
                <c:pt idx="8">
                  <c:v>0.0673986545151128</c:v>
                </c:pt>
                <c:pt idx="9">
                  <c:v>0.008221813603033331</c:v>
                </c:pt>
                <c:pt idx="10">
                  <c:v>0.0012747563155753136</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19285822814956487</c:v>
                </c:pt>
                <c:pt idx="3">
                  <c:v>0.04904470049243927</c:v>
                </c:pt>
                <c:pt idx="4">
                  <c:v>0.022585485283414204</c:v>
                </c:pt>
                <c:pt idx="5">
                  <c:v>0.1013458714656256</c:v>
                </c:pt>
                <c:pt idx="6">
                  <c:v>0.08078455045718665</c:v>
                </c:pt>
                <c:pt idx="7">
                  <c:v>0.36238716688551564</c:v>
                </c:pt>
                <c:pt idx="8">
                  <c:v>0.2209832421338763</c:v>
                </c:pt>
                <c:pt idx="9">
                  <c:v>0.08818658355256848</c:v>
                </c:pt>
                <c:pt idx="10">
                  <c:v>0.06864617805332848</c:v>
                </c:pt>
                <c:pt idx="11">
                  <c:v>0.00377164383198322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05385614196020754</c:v>
                </c:pt>
                <c:pt idx="1">
                  <c:v>0.001562031736386979</c:v>
                </c:pt>
                <c:pt idx="3">
                  <c:v>0.005548975945810315</c:v>
                </c:pt>
                <c:pt idx="5">
                  <c:v>0.033668270305480336</c:v>
                </c:pt>
                <c:pt idx="7">
                  <c:v>0.29686173713080344</c:v>
                </c:pt>
                <c:pt idx="8">
                  <c:v>0.5915690323234</c:v>
                </c:pt>
                <c:pt idx="9">
                  <c:v>0.00939993664733704</c:v>
                </c:pt>
                <c:pt idx="10">
                  <c:v>0.0608451251126776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4671222901626161</c:v>
                </c:pt>
                <c:pt idx="2">
                  <c:v>0.10369318788070768</c:v>
                </c:pt>
                <c:pt idx="3">
                  <c:v>0.013292401962814945</c:v>
                </c:pt>
                <c:pt idx="5">
                  <c:v>0.3992758643606601</c:v>
                </c:pt>
                <c:pt idx="7">
                  <c:v>0.0009585466759616213</c:v>
                </c:pt>
                <c:pt idx="8">
                  <c:v>0.4644840810632229</c:v>
                </c:pt>
                <c:pt idx="9">
                  <c:v>0.01678159650636528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54175372255002754</c:v>
                </c:pt>
                <c:pt idx="2">
                  <c:v>0.09266040284708145</c:v>
                </c:pt>
                <c:pt idx="3">
                  <c:v>0.1647950039409556</c:v>
                </c:pt>
                <c:pt idx="4">
                  <c:v>0.07059469042606029</c:v>
                </c:pt>
                <c:pt idx="5">
                  <c:v>0.10830141278533575</c:v>
                </c:pt>
                <c:pt idx="6">
                  <c:v>0.00897576877786462</c:v>
                </c:pt>
                <c:pt idx="7">
                  <c:v>0.04264415397766906</c:v>
                </c:pt>
                <c:pt idx="8">
                  <c:v>0.22660645577361263</c:v>
                </c:pt>
                <c:pt idx="9">
                  <c:v>0.20492307455652828</c:v>
                </c:pt>
                <c:pt idx="10">
                  <c:v>0.02544578325608487</c:v>
                </c:pt>
                <c:pt idx="11">
                  <c:v>0.00087788140380472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4">
                  <c:v>0.07831140442375314</c:v>
                </c:pt>
                <c:pt idx="6">
                  <c:v>0.01888234821986699</c:v>
                </c:pt>
                <c:pt idx="7">
                  <c:v>0.07974748276914807</c:v>
                </c:pt>
                <c:pt idx="10">
                  <c:v>0.0515153874663759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4720432630015336</c:v>
                </c:pt>
                <c:pt idx="3">
                  <c:v>0.04855904289934774</c:v>
                </c:pt>
                <c:pt idx="5">
                  <c:v>0.19112282846997233</c:v>
                </c:pt>
                <c:pt idx="6">
                  <c:v>0.05506391453184985</c:v>
                </c:pt>
                <c:pt idx="7">
                  <c:v>0.5243390796207615</c:v>
                </c:pt>
                <c:pt idx="8">
                  <c:v>0.07681513851716776</c:v>
                </c:pt>
                <c:pt idx="9">
                  <c:v>0.0568610777085616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7">
                  <c:v>0.004784849183471466</c:v>
                </c:pt>
                <c:pt idx="10">
                  <c:v>0.00556124633252818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24975365598015995</c:v>
                </c:pt>
                <c:pt idx="1">
                  <c:v>0.0016379025521232942</c:v>
                </c:pt>
                <c:pt idx="2">
                  <c:v>0.0010219016343389</c:v>
                </c:pt>
                <c:pt idx="3">
                  <c:v>0.054936688578910986</c:v>
                </c:pt>
                <c:pt idx="4">
                  <c:v>0.03157398195439742</c:v>
                </c:pt>
                <c:pt idx="5">
                  <c:v>0.09592598692938586</c:v>
                </c:pt>
                <c:pt idx="6">
                  <c:v>0.03381598988874469</c:v>
                </c:pt>
                <c:pt idx="7">
                  <c:v>0.1653838562857024</c:v>
                </c:pt>
                <c:pt idx="8">
                  <c:v>0.2663326767582046</c:v>
                </c:pt>
                <c:pt idx="9">
                  <c:v>0.1585108287063665</c:v>
                </c:pt>
                <c:pt idx="10">
                  <c:v>0.188362650152023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5130936481089647</c:v>
                </c:pt>
                <c:pt idx="1">
                  <c:v>0.032843822305474016</c:v>
                </c:pt>
                <c:pt idx="2">
                  <c:v>0.01304152019254488</c:v>
                </c:pt>
                <c:pt idx="3">
                  <c:v>0.06397600215816945</c:v>
                </c:pt>
                <c:pt idx="4">
                  <c:v>0.12726869045828998</c:v>
                </c:pt>
                <c:pt idx="5">
                  <c:v>0.14107703973711477</c:v>
                </c:pt>
                <c:pt idx="6">
                  <c:v>0.362360065413369</c:v>
                </c:pt>
                <c:pt idx="7">
                  <c:v>0.07178886302012032</c:v>
                </c:pt>
                <c:pt idx="8">
                  <c:v>0.1607814740415261</c:v>
                </c:pt>
                <c:pt idx="9">
                  <c:v>0.01172286408217030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21026893100549375</c:v>
                </c:pt>
                <c:pt idx="3">
                  <c:v>0.04916947487787493</c:v>
                </c:pt>
                <c:pt idx="4">
                  <c:v>0.04300793550244326</c:v>
                </c:pt>
                <c:pt idx="5">
                  <c:v>0.0883718839516898</c:v>
                </c:pt>
                <c:pt idx="6">
                  <c:v>0.05587302735061177</c:v>
                </c:pt>
                <c:pt idx="7">
                  <c:v>0.20540382508378988</c:v>
                </c:pt>
                <c:pt idx="8">
                  <c:v>0.36146768532776</c:v>
                </c:pt>
                <c:pt idx="9">
                  <c:v>0.08743893594609325</c:v>
                </c:pt>
                <c:pt idx="10">
                  <c:v>0.1062833088204093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425597825452717</c:v>
                </c:pt>
                <c:pt idx="2">
                  <c:v>0.07210901912757897</c:v>
                </c:pt>
                <c:pt idx="3">
                  <c:v>0.12402220207660479</c:v>
                </c:pt>
                <c:pt idx="4">
                  <c:v>0.0005030329775539284</c:v>
                </c:pt>
                <c:pt idx="5">
                  <c:v>0.22171959768659777</c:v>
                </c:pt>
                <c:pt idx="6">
                  <c:v>0.0029994597498183262</c:v>
                </c:pt>
                <c:pt idx="7">
                  <c:v>0.0055040210686961785</c:v>
                </c:pt>
                <c:pt idx="8">
                  <c:v>0.38358536672772303</c:v>
                </c:pt>
                <c:pt idx="9">
                  <c:v>0.16762790765090618</c:v>
                </c:pt>
                <c:pt idx="10">
                  <c:v>0.0016054128463587373</c:v>
                </c:pt>
                <c:pt idx="11">
                  <c:v>0.0038292083048375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2450492937243368</c:v>
                </c:pt>
                <c:pt idx="1">
                  <c:v>0.0022320532191512647</c:v>
                </c:pt>
                <c:pt idx="3">
                  <c:v>0.005522170881564549</c:v>
                </c:pt>
                <c:pt idx="5">
                  <c:v>0.03205456820303794</c:v>
                </c:pt>
                <c:pt idx="7">
                  <c:v>0.23745240670836387</c:v>
                </c:pt>
                <c:pt idx="8">
                  <c:v>0.6093957063760579</c:v>
                </c:pt>
                <c:pt idx="9">
                  <c:v>0.01727445109279468</c:v>
                </c:pt>
                <c:pt idx="10">
                  <c:v>0.094823594225305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8551731978846905</c:v>
                </c:pt>
                <c:pt idx="3">
                  <c:v>0.17813299245834574</c:v>
                </c:pt>
                <c:pt idx="5">
                  <c:v>0.21442455324174367</c:v>
                </c:pt>
                <c:pt idx="7">
                  <c:v>0.011509498510208325</c:v>
                </c:pt>
                <c:pt idx="8">
                  <c:v>0.3229479643269409</c:v>
                </c:pt>
                <c:pt idx="9">
                  <c:v>0.18285423394799405</c:v>
                </c:pt>
                <c:pt idx="10">
                  <c:v>0.00418212024651980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4">
                  <c:v>0.05935285989812673</c:v>
                </c:pt>
                <c:pt idx="6">
                  <c:v>0.04056330411108755</c:v>
                </c:pt>
                <c:pt idx="7">
                  <c:v>0.09103779430939526</c:v>
                </c:pt>
                <c:pt idx="10">
                  <c:v>0.0432396029543864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20326372359036796</c:v>
                </c:pt>
                <c:pt idx="3">
                  <c:v>0.07259953780351218</c:v>
                </c:pt>
                <c:pt idx="5">
                  <c:v>0.29716697751487675</c:v>
                </c:pt>
                <c:pt idx="7">
                  <c:v>0.0009108250166122018</c:v>
                </c:pt>
                <c:pt idx="8">
                  <c:v>0.5583253610565228</c:v>
                </c:pt>
                <c:pt idx="9">
                  <c:v>0.04998557335855864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4">
                  <c:v>0.0031935728484265434</c:v>
                </c:pt>
                <c:pt idx="6">
                  <c:v>0.002182571604367232</c:v>
                </c:pt>
                <c:pt idx="7">
                  <c:v>0.004900466368272281</c:v>
                </c:pt>
                <c:pt idx="10">
                  <c:v>0.00280430503243643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0">
                  <c:v>0.006736072035449517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05081577628435521</c:v>
                </c:pt>
                <c:pt idx="3">
                  <c:v>0.001017348439062198</c:v>
                </c:pt>
                <c:pt idx="4">
                  <c:v>0.08229546761350867</c:v>
                </c:pt>
                <c:pt idx="6">
                  <c:v>0.1301013877493945</c:v>
                </c:pt>
                <c:pt idx="7">
                  <c:v>0.3729079252291104</c:v>
                </c:pt>
                <c:pt idx="8">
                  <c:v>0.013576844917299524</c:v>
                </c:pt>
                <c:pt idx="9">
                  <c:v>0.3924066406143356</c:v>
                </c:pt>
                <c:pt idx="10">
                  <c:v>0.00626627584311420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62381599003958</c:v>
                </c:pt>
                <c:pt idx="1">
                  <c:v>0.06752988254370398</c:v>
                </c:pt>
                <c:pt idx="4">
                  <c:v>0.22654494927316576</c:v>
                </c:pt>
                <c:pt idx="5">
                  <c:v>0.009645079758725906</c:v>
                </c:pt>
                <c:pt idx="6">
                  <c:v>0.46446442441784896</c:v>
                </c:pt>
                <c:pt idx="7">
                  <c:v>0.18869362275035395</c:v>
                </c:pt>
                <c:pt idx="10">
                  <c:v>0.013835303638765041</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3555374201545074</c:v>
                </c:pt>
                <c:pt idx="4">
                  <c:v>0.10056376439324646</c:v>
                </c:pt>
                <c:pt idx="6">
                  <c:v>0.20390060448269487</c:v>
                </c:pt>
                <c:pt idx="7">
                  <c:v>0.5480297958742949</c:v>
                </c:pt>
                <c:pt idx="8">
                  <c:v>0.011403440221557173</c:v>
                </c:pt>
                <c:pt idx="10">
                  <c:v>0.10372738096186646</c:v>
                </c:pt>
                <c:pt idx="11">
                  <c:v>0.028702359852052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47239854391077266</c:v>
                </c:pt>
                <c:pt idx="8">
                  <c:v>0.8668385919505451</c:v>
                </c:pt>
                <c:pt idx="9">
                  <c:v>0.0853586690376218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467138887234618</c:v>
                </c:pt>
                <c:pt idx="2">
                  <c:v>0.10371095193438469</c:v>
                </c:pt>
                <c:pt idx="3">
                  <c:v>0.013285795569918612</c:v>
                </c:pt>
                <c:pt idx="5">
                  <c:v>0.39936557319765603</c:v>
                </c:pt>
                <c:pt idx="7">
                  <c:v>0.0009439269167876278</c:v>
                </c:pt>
                <c:pt idx="8">
                  <c:v>0.46443195410199767</c:v>
                </c:pt>
                <c:pt idx="9">
                  <c:v>0.01675074747129760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8209817276612301</c:v>
                </c:pt>
                <c:pt idx="2">
                  <c:v>0.02766692599215401</c:v>
                </c:pt>
                <c:pt idx="3">
                  <c:v>0.12152540134740045</c:v>
                </c:pt>
                <c:pt idx="4">
                  <c:v>0.08807155321736132</c:v>
                </c:pt>
                <c:pt idx="5">
                  <c:v>0.163995415849171</c:v>
                </c:pt>
                <c:pt idx="6">
                  <c:v>0.003897012284749402</c:v>
                </c:pt>
                <c:pt idx="7">
                  <c:v>0.0662353207000244</c:v>
                </c:pt>
                <c:pt idx="8">
                  <c:v>0.2660643777363146</c:v>
                </c:pt>
                <c:pt idx="9">
                  <c:v>0.16673327506438138</c:v>
                </c:pt>
                <c:pt idx="10">
                  <c:v>0.01322740057405335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8209817276612301</c:v>
                </c:pt>
                <c:pt idx="3">
                  <c:v>0.05794383094949777</c:v>
                </c:pt>
                <c:pt idx="5">
                  <c:v>0.04270081280033697</c:v>
                </c:pt>
                <c:pt idx="8">
                  <c:v>0.06559091826119108</c:v>
                </c:pt>
                <c:pt idx="9">
                  <c:v>0.01242844973888071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3554807916989727</c:v>
                </c:pt>
                <c:pt idx="3">
                  <c:v>0.04216919235477574</c:v>
                </c:pt>
                <c:pt idx="5">
                  <c:v>0.23572846538239825</c:v>
                </c:pt>
                <c:pt idx="6">
                  <c:v>0.07586484225238363</c:v>
                </c:pt>
                <c:pt idx="7">
                  <c:v>0.46044242473977526</c:v>
                </c:pt>
                <c:pt idx="8">
                  <c:v>0.09213177539598617</c:v>
                </c:pt>
                <c:pt idx="9">
                  <c:v>0.05260292959458459</c:v>
                </c:pt>
                <c:pt idx="10">
                  <c:v>0.00549467350340432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3013241656142988</c:v>
                </c:pt>
                <c:pt idx="1">
                  <c:v>0.007082202882835808</c:v>
                </c:pt>
                <c:pt idx="2">
                  <c:v>0.0020858669724864447</c:v>
                </c:pt>
                <c:pt idx="3">
                  <c:v>0.055909517785081346</c:v>
                </c:pt>
                <c:pt idx="4">
                  <c:v>0.03996947051207336</c:v>
                </c:pt>
                <c:pt idx="5">
                  <c:v>0.08514135082257397</c:v>
                </c:pt>
                <c:pt idx="6">
                  <c:v>0.041671457423834685</c:v>
                </c:pt>
                <c:pt idx="7">
                  <c:v>0.20000586803223158</c:v>
                </c:pt>
                <c:pt idx="8">
                  <c:v>0.18311481008226255</c:v>
                </c:pt>
                <c:pt idx="9">
                  <c:v>0.17550032995913264</c:v>
                </c:pt>
                <c:pt idx="10">
                  <c:v>0.206505883871344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797037320037875</c:v>
                </c:pt>
                <c:pt idx="1">
                  <c:v>0.04515678141971852</c:v>
                </c:pt>
                <c:pt idx="2">
                  <c:v>0.02112423928770644</c:v>
                </c:pt>
                <c:pt idx="3">
                  <c:v>0.13820454776849406</c:v>
                </c:pt>
                <c:pt idx="4">
                  <c:v>0.07402089548219276</c:v>
                </c:pt>
                <c:pt idx="5">
                  <c:v>0.34672443505720385</c:v>
                </c:pt>
                <c:pt idx="6">
                  <c:v>0.14139907863558362</c:v>
                </c:pt>
                <c:pt idx="7">
                  <c:v>0.13967776059534132</c:v>
                </c:pt>
                <c:pt idx="8">
                  <c:v>0.0673986545151128</c:v>
                </c:pt>
                <c:pt idx="9">
                  <c:v>0.008221813603033331</c:v>
                </c:pt>
                <c:pt idx="10">
                  <c:v>0.0012747563155753136</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4">
                  <c:v>0.004549154025681851</c:v>
                </c:pt>
                <c:pt idx="6">
                  <c:v>0.0023582829491734956</c:v>
                </c:pt>
                <c:pt idx="7">
                  <c:v>0.008126447119639266</c:v>
                </c:pt>
                <c:pt idx="9">
                  <c:v>0.00401319298225445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19285822814956487</c:v>
                </c:pt>
                <c:pt idx="3">
                  <c:v>0.04904470049243927</c:v>
                </c:pt>
                <c:pt idx="4">
                  <c:v>0.022585485283414204</c:v>
                </c:pt>
                <c:pt idx="5">
                  <c:v>0.1013458714656256</c:v>
                </c:pt>
                <c:pt idx="6">
                  <c:v>0.08078455045718665</c:v>
                </c:pt>
                <c:pt idx="7">
                  <c:v>0.36238716688551564</c:v>
                </c:pt>
                <c:pt idx="8">
                  <c:v>0.2209832421338763</c:v>
                </c:pt>
                <c:pt idx="9">
                  <c:v>0.08818658355256848</c:v>
                </c:pt>
                <c:pt idx="10">
                  <c:v>0.06864617805332848</c:v>
                </c:pt>
                <c:pt idx="11">
                  <c:v>0.00377164383198322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05385614196020754</c:v>
                </c:pt>
                <c:pt idx="1">
                  <c:v>0.001562031736386979</c:v>
                </c:pt>
                <c:pt idx="3">
                  <c:v>0.005548975945810315</c:v>
                </c:pt>
                <c:pt idx="5">
                  <c:v>0.033668270305480336</c:v>
                </c:pt>
                <c:pt idx="7">
                  <c:v>0.29686173713080344</c:v>
                </c:pt>
                <c:pt idx="8">
                  <c:v>0.5915690323234</c:v>
                </c:pt>
                <c:pt idx="9">
                  <c:v>0.00939993664733704</c:v>
                </c:pt>
                <c:pt idx="10">
                  <c:v>0.0608451251126776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4671222901626161</c:v>
                </c:pt>
                <c:pt idx="2">
                  <c:v>0.10369318788070768</c:v>
                </c:pt>
                <c:pt idx="3">
                  <c:v>0.013292401962814945</c:v>
                </c:pt>
                <c:pt idx="5">
                  <c:v>0.3992758643606601</c:v>
                </c:pt>
                <c:pt idx="7">
                  <c:v>0.0009585466759616213</c:v>
                </c:pt>
                <c:pt idx="8">
                  <c:v>0.4644840810632229</c:v>
                </c:pt>
                <c:pt idx="9">
                  <c:v>0.01678159650636528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54175372255002754</c:v>
                </c:pt>
                <c:pt idx="2">
                  <c:v>0.09266040284708145</c:v>
                </c:pt>
                <c:pt idx="3">
                  <c:v>0.1647950039409556</c:v>
                </c:pt>
                <c:pt idx="4">
                  <c:v>0.07059469042606029</c:v>
                </c:pt>
                <c:pt idx="5">
                  <c:v>0.10830141278533575</c:v>
                </c:pt>
                <c:pt idx="6">
                  <c:v>0.00897576877786462</c:v>
                </c:pt>
                <c:pt idx="7">
                  <c:v>0.04264415397766906</c:v>
                </c:pt>
                <c:pt idx="8">
                  <c:v>0.22660645577361263</c:v>
                </c:pt>
                <c:pt idx="9">
                  <c:v>0.20492307455652828</c:v>
                </c:pt>
                <c:pt idx="10">
                  <c:v>0.02544578325608487</c:v>
                </c:pt>
                <c:pt idx="11">
                  <c:v>0.00087788140380472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9266040284708145</c:v>
                </c:pt>
                <c:pt idx="3">
                  <c:v>0.07780055435957021</c:v>
                </c:pt>
                <c:pt idx="5">
                  <c:v>0.00862511242815835</c:v>
                </c:pt>
                <c:pt idx="8">
                  <c:v>0.08428422334642685</c:v>
                </c:pt>
                <c:pt idx="9">
                  <c:v>0.0150773960176768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4720432630015336</c:v>
                </c:pt>
                <c:pt idx="3">
                  <c:v>0.04855904289934774</c:v>
                </c:pt>
                <c:pt idx="5">
                  <c:v>0.19112282846997233</c:v>
                </c:pt>
                <c:pt idx="6">
                  <c:v>0.05506391453184985</c:v>
                </c:pt>
                <c:pt idx="7">
                  <c:v>0.5243390796207615</c:v>
                </c:pt>
                <c:pt idx="8">
                  <c:v>0.07681513851716776</c:v>
                </c:pt>
                <c:pt idx="9">
                  <c:v>0.0568610777085616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24975365598015995</c:v>
                </c:pt>
                <c:pt idx="1">
                  <c:v>0.0016379025521232942</c:v>
                </c:pt>
                <c:pt idx="2">
                  <c:v>0.0010219016343389</c:v>
                </c:pt>
                <c:pt idx="3">
                  <c:v>0.054936688578910986</c:v>
                </c:pt>
                <c:pt idx="4">
                  <c:v>0.03157398195439742</c:v>
                </c:pt>
                <c:pt idx="5">
                  <c:v>0.09592598692938586</c:v>
                </c:pt>
                <c:pt idx="6">
                  <c:v>0.03381598988874469</c:v>
                </c:pt>
                <c:pt idx="7">
                  <c:v>0.1653838562857024</c:v>
                </c:pt>
                <c:pt idx="8">
                  <c:v>0.2663326767582046</c:v>
                </c:pt>
                <c:pt idx="9">
                  <c:v>0.1585108287063665</c:v>
                </c:pt>
                <c:pt idx="10">
                  <c:v>0.188362650152023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5130936481089647</c:v>
                </c:pt>
                <c:pt idx="1">
                  <c:v>0.032843822305474016</c:v>
                </c:pt>
                <c:pt idx="2">
                  <c:v>0.01304152019254488</c:v>
                </c:pt>
                <c:pt idx="3">
                  <c:v>0.06397600215816945</c:v>
                </c:pt>
                <c:pt idx="4">
                  <c:v>0.12726869045828998</c:v>
                </c:pt>
                <c:pt idx="5">
                  <c:v>0.14107703973711477</c:v>
                </c:pt>
                <c:pt idx="6">
                  <c:v>0.362360065413369</c:v>
                </c:pt>
                <c:pt idx="7">
                  <c:v>0.07178886302012032</c:v>
                </c:pt>
                <c:pt idx="8">
                  <c:v>0.1607814740415261</c:v>
                </c:pt>
                <c:pt idx="9">
                  <c:v>0.01172286408217030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21026893100549375</c:v>
                </c:pt>
                <c:pt idx="3">
                  <c:v>0.04916947487787493</c:v>
                </c:pt>
                <c:pt idx="4">
                  <c:v>0.04300793550244326</c:v>
                </c:pt>
                <c:pt idx="5">
                  <c:v>0.0883718839516898</c:v>
                </c:pt>
                <c:pt idx="6">
                  <c:v>0.05587302735061177</c:v>
                </c:pt>
                <c:pt idx="7">
                  <c:v>0.20540382508378988</c:v>
                </c:pt>
                <c:pt idx="8">
                  <c:v>0.36146768532776</c:v>
                </c:pt>
                <c:pt idx="9">
                  <c:v>0.08743893594609325</c:v>
                </c:pt>
                <c:pt idx="10">
                  <c:v>0.1062833088204093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2450492937243368</c:v>
                </c:pt>
                <c:pt idx="1">
                  <c:v>0.0022320532191512647</c:v>
                </c:pt>
                <c:pt idx="3">
                  <c:v>0.005522170881564549</c:v>
                </c:pt>
                <c:pt idx="5">
                  <c:v>0.03205456820303794</c:v>
                </c:pt>
                <c:pt idx="7">
                  <c:v>0.23745240670836387</c:v>
                </c:pt>
                <c:pt idx="8">
                  <c:v>0.6093957063760579</c:v>
                </c:pt>
                <c:pt idx="9">
                  <c:v>0.01727445109279468</c:v>
                </c:pt>
                <c:pt idx="10">
                  <c:v>0.094823594225305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8551731978846905</c:v>
                </c:pt>
                <c:pt idx="3">
                  <c:v>0.17813299245834574</c:v>
                </c:pt>
                <c:pt idx="5">
                  <c:v>0.21442455324174367</c:v>
                </c:pt>
                <c:pt idx="7">
                  <c:v>0.011509498510208325</c:v>
                </c:pt>
                <c:pt idx="8">
                  <c:v>0.3229479643269409</c:v>
                </c:pt>
                <c:pt idx="9">
                  <c:v>0.18285423394799405</c:v>
                </c:pt>
                <c:pt idx="10">
                  <c:v>0.00418212024651980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8551731978846905</c:v>
                </c:pt>
                <c:pt idx="3">
                  <c:v>0.07509989132561243</c:v>
                </c:pt>
                <c:pt idx="5">
                  <c:v>0.028439093690432658</c:v>
                </c:pt>
                <c:pt idx="8">
                  <c:v>0.09475556456907686</c:v>
                </c:pt>
                <c:pt idx="9">
                  <c:v>0.00598298083295179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20326372359036796</c:v>
                </c:pt>
                <c:pt idx="3">
                  <c:v>0.07259953780351218</c:v>
                </c:pt>
                <c:pt idx="5">
                  <c:v>0.29716697751487675</c:v>
                </c:pt>
                <c:pt idx="7">
                  <c:v>0.0009108250166122018</c:v>
                </c:pt>
                <c:pt idx="8">
                  <c:v>0.5583253610565228</c:v>
                </c:pt>
                <c:pt idx="9">
                  <c:v>0.04998557335855864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05081577628435521</c:v>
                </c:pt>
                <c:pt idx="3">
                  <c:v>0.001017348439062198</c:v>
                </c:pt>
                <c:pt idx="4">
                  <c:v>0.08229546761350867</c:v>
                </c:pt>
                <c:pt idx="6">
                  <c:v>0.1301013877493945</c:v>
                </c:pt>
                <c:pt idx="7">
                  <c:v>0.3729079252291104</c:v>
                </c:pt>
                <c:pt idx="8">
                  <c:v>0.013576844917299524</c:v>
                </c:pt>
                <c:pt idx="9">
                  <c:v>0.3924066406143356</c:v>
                </c:pt>
                <c:pt idx="10">
                  <c:v>0.00626627584311420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62381599003958</c:v>
                </c:pt>
                <c:pt idx="1">
                  <c:v>0.06752988254370398</c:v>
                </c:pt>
                <c:pt idx="4">
                  <c:v>0.22654494927316576</c:v>
                </c:pt>
                <c:pt idx="5">
                  <c:v>0.009645079758725906</c:v>
                </c:pt>
                <c:pt idx="6">
                  <c:v>0.46446442441784896</c:v>
                </c:pt>
                <c:pt idx="7">
                  <c:v>0.18869362275035395</c:v>
                </c:pt>
                <c:pt idx="10">
                  <c:v>0.013835303638765041</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3555374201545074</c:v>
                </c:pt>
                <c:pt idx="4">
                  <c:v>0.10056376439324646</c:v>
                </c:pt>
                <c:pt idx="6">
                  <c:v>0.20390060448269487</c:v>
                </c:pt>
                <c:pt idx="7">
                  <c:v>0.5480297958742949</c:v>
                </c:pt>
                <c:pt idx="8">
                  <c:v>0.011403440221557173</c:v>
                </c:pt>
                <c:pt idx="10">
                  <c:v>0.10372738096186646</c:v>
                </c:pt>
                <c:pt idx="11">
                  <c:v>0.028702359852052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47239854391077266</c:v>
                </c:pt>
                <c:pt idx="8">
                  <c:v>0.8668385919505451</c:v>
                </c:pt>
                <c:pt idx="9">
                  <c:v>0.0853586690376218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467138887234618</c:v>
                </c:pt>
                <c:pt idx="2">
                  <c:v>0.10371095193438469</c:v>
                </c:pt>
                <c:pt idx="3">
                  <c:v>0.013285795569918612</c:v>
                </c:pt>
                <c:pt idx="5">
                  <c:v>0.39936557319765603</c:v>
                </c:pt>
                <c:pt idx="7">
                  <c:v>0.0009439269167876278</c:v>
                </c:pt>
                <c:pt idx="8">
                  <c:v>0.46443195410199767</c:v>
                </c:pt>
                <c:pt idx="9">
                  <c:v>0.01675074747129760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8209817276612301</c:v>
                </c:pt>
                <c:pt idx="2">
                  <c:v>0.02766692599215401</c:v>
                </c:pt>
                <c:pt idx="3">
                  <c:v>0.12152540134740045</c:v>
                </c:pt>
                <c:pt idx="4">
                  <c:v>0.08807155321736132</c:v>
                </c:pt>
                <c:pt idx="5">
                  <c:v>0.163995415849171</c:v>
                </c:pt>
                <c:pt idx="6">
                  <c:v>0.003897012284749402</c:v>
                </c:pt>
                <c:pt idx="7">
                  <c:v>0.0662353207000244</c:v>
                </c:pt>
                <c:pt idx="8">
                  <c:v>0.2660643777363146</c:v>
                </c:pt>
                <c:pt idx="9">
                  <c:v>0.16673327506438138</c:v>
                </c:pt>
                <c:pt idx="10">
                  <c:v>0.01322740057405335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3554807916989727</c:v>
                </c:pt>
                <c:pt idx="3">
                  <c:v>0.04216919235477574</c:v>
                </c:pt>
                <c:pt idx="5">
                  <c:v>0.23572846538239825</c:v>
                </c:pt>
                <c:pt idx="6">
                  <c:v>0.07586484225238363</c:v>
                </c:pt>
                <c:pt idx="7">
                  <c:v>0.46044242473977526</c:v>
                </c:pt>
                <c:pt idx="8">
                  <c:v>0.09213177539598617</c:v>
                </c:pt>
                <c:pt idx="9">
                  <c:v>0.05260292959458459</c:v>
                </c:pt>
                <c:pt idx="10">
                  <c:v>0.005494673503404329</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1878060916134092</c:v>
                </c:pt>
                <c:pt idx="7">
                  <c:v>0.060194721989301196</c:v>
                </c:pt>
                <c:pt idx="10">
                  <c:v>0.014280515076797716</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3013241656142988</c:v>
                </c:pt>
                <c:pt idx="1">
                  <c:v>0.007082202882835808</c:v>
                </c:pt>
                <c:pt idx="2">
                  <c:v>0.0020858669724864447</c:v>
                </c:pt>
                <c:pt idx="3">
                  <c:v>0.055909517785081346</c:v>
                </c:pt>
                <c:pt idx="4">
                  <c:v>0.03996947051207336</c:v>
                </c:pt>
                <c:pt idx="5">
                  <c:v>0.08514135082257397</c:v>
                </c:pt>
                <c:pt idx="6">
                  <c:v>0.041671457423834685</c:v>
                </c:pt>
                <c:pt idx="7">
                  <c:v>0.20000586803223158</c:v>
                </c:pt>
                <c:pt idx="8">
                  <c:v>0.18311481008226255</c:v>
                </c:pt>
                <c:pt idx="9">
                  <c:v>0.17550032995913264</c:v>
                </c:pt>
                <c:pt idx="10">
                  <c:v>0.206505883871344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9">
                  <c:v>0.0006300585341544022</c:v>
                </c:pt>
                <c:pt idx="10">
                  <c:v>0.00984599321875469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797037320037875</c:v>
                </c:pt>
                <c:pt idx="1">
                  <c:v>0.04515678141971852</c:v>
                </c:pt>
                <c:pt idx="2">
                  <c:v>0.02112423928770644</c:v>
                </c:pt>
                <c:pt idx="3">
                  <c:v>0.13820454776849406</c:v>
                </c:pt>
                <c:pt idx="4">
                  <c:v>0.07402089548219276</c:v>
                </c:pt>
                <c:pt idx="5">
                  <c:v>0.34672443505720385</c:v>
                </c:pt>
                <c:pt idx="6">
                  <c:v>0.14139907863558362</c:v>
                </c:pt>
                <c:pt idx="7">
                  <c:v>0.13967776059534132</c:v>
                </c:pt>
                <c:pt idx="8">
                  <c:v>0.0673986545151128</c:v>
                </c:pt>
                <c:pt idx="9">
                  <c:v>0.008221813603033331</c:v>
                </c:pt>
                <c:pt idx="10">
                  <c:v>0.0012747563155753136</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19285822814956487</c:v>
                </c:pt>
                <c:pt idx="3">
                  <c:v>0.04904470049243927</c:v>
                </c:pt>
                <c:pt idx="4">
                  <c:v>0.022585485283414204</c:v>
                </c:pt>
                <c:pt idx="5">
                  <c:v>0.1013458714656256</c:v>
                </c:pt>
                <c:pt idx="6">
                  <c:v>0.08078455045718665</c:v>
                </c:pt>
                <c:pt idx="7">
                  <c:v>0.36238716688551564</c:v>
                </c:pt>
                <c:pt idx="8">
                  <c:v>0.2209832421338763</c:v>
                </c:pt>
                <c:pt idx="9">
                  <c:v>0.08818658355256848</c:v>
                </c:pt>
                <c:pt idx="10">
                  <c:v>0.06864617805332848</c:v>
                </c:pt>
                <c:pt idx="11">
                  <c:v>0.00377164383198322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32391085099796</c:v>
                </c:pt>
                <c:pt idx="1">
                  <c:v>0.030029374209639585</c:v>
                </c:pt>
                <c:pt idx="2">
                  <c:v>0.013260072235208328</c:v>
                </c:pt>
                <c:pt idx="3">
                  <c:v>0.041537920103246036</c:v>
                </c:pt>
                <c:pt idx="4">
                  <c:v>0.07556227083183126</c:v>
                </c:pt>
                <c:pt idx="5">
                  <c:v>0.06154028409509541</c:v>
                </c:pt>
                <c:pt idx="6">
                  <c:v>0.1831223576647234</c:v>
                </c:pt>
                <c:pt idx="7">
                  <c:v>0.2679416452737607</c:v>
                </c:pt>
                <c:pt idx="8">
                  <c:v>0.12529305571168425</c:v>
                </c:pt>
                <c:pt idx="9">
                  <c:v>0.11952001296739617</c:v>
                </c:pt>
                <c:pt idx="10">
                  <c:v>0.07383488507536885</c:v>
                </c:pt>
                <c:pt idx="11">
                  <c:v>0.00097924674007412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05385614196020754</c:v>
                </c:pt>
                <c:pt idx="1">
                  <c:v>0.001562031736386979</c:v>
                </c:pt>
                <c:pt idx="3">
                  <c:v>0.005548975945810315</c:v>
                </c:pt>
                <c:pt idx="5">
                  <c:v>0.033668270305480336</c:v>
                </c:pt>
                <c:pt idx="7">
                  <c:v>0.29686173713080344</c:v>
                </c:pt>
                <c:pt idx="8">
                  <c:v>0.5915690323234</c:v>
                </c:pt>
                <c:pt idx="9">
                  <c:v>0.00939993664733704</c:v>
                </c:pt>
                <c:pt idx="10">
                  <c:v>0.0608451251126776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4671222901626161</c:v>
                </c:pt>
                <c:pt idx="2">
                  <c:v>0.10369318788070768</c:v>
                </c:pt>
                <c:pt idx="3">
                  <c:v>0.013292401962814945</c:v>
                </c:pt>
                <c:pt idx="5">
                  <c:v>0.3992758643606601</c:v>
                </c:pt>
                <c:pt idx="7">
                  <c:v>0.0009585466759616213</c:v>
                </c:pt>
                <c:pt idx="8">
                  <c:v>0.4644840810632229</c:v>
                </c:pt>
                <c:pt idx="9">
                  <c:v>0.01678159650636528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54175372255002754</c:v>
                </c:pt>
                <c:pt idx="2">
                  <c:v>0.09266040284708145</c:v>
                </c:pt>
                <c:pt idx="3">
                  <c:v>0.1647950039409556</c:v>
                </c:pt>
                <c:pt idx="4">
                  <c:v>0.07059469042606029</c:v>
                </c:pt>
                <c:pt idx="5">
                  <c:v>0.10830141278533575</c:v>
                </c:pt>
                <c:pt idx="6">
                  <c:v>0.00897576877786462</c:v>
                </c:pt>
                <c:pt idx="7">
                  <c:v>0.04264415397766906</c:v>
                </c:pt>
                <c:pt idx="8">
                  <c:v>0.22660645577361263</c:v>
                </c:pt>
                <c:pt idx="9">
                  <c:v>0.20492307455652828</c:v>
                </c:pt>
                <c:pt idx="10">
                  <c:v>0.02544578325608487</c:v>
                </c:pt>
                <c:pt idx="11">
                  <c:v>0.00087788140380472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4720432630015336</c:v>
                </c:pt>
                <c:pt idx="3">
                  <c:v>0.04855904289934774</c:v>
                </c:pt>
                <c:pt idx="5">
                  <c:v>0.19112282846997233</c:v>
                </c:pt>
                <c:pt idx="6">
                  <c:v>0.05506391453184985</c:v>
                </c:pt>
                <c:pt idx="7">
                  <c:v>0.5243390796207615</c:v>
                </c:pt>
                <c:pt idx="8">
                  <c:v>0.07681513851716776</c:v>
                </c:pt>
                <c:pt idx="9">
                  <c:v>0.0568610777085616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73222119817831595</c:v>
                </c:pt>
                <c:pt idx="3">
                  <c:v>0.005167922731453338</c:v>
                </c:pt>
                <c:pt idx="5">
                  <c:v>0.003808420974352366</c:v>
                </c:pt>
                <c:pt idx="8">
                  <c:v>0.005849985454496062</c:v>
                </c:pt>
                <c:pt idx="9">
                  <c:v>0.00110847465329428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1852628303944447</c:v>
                </c:pt>
                <c:pt idx="7">
                  <c:v>0.06857874750025944</c:v>
                </c:pt>
                <c:pt idx="10">
                  <c:v>0.0152514096557669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24975365598015995</c:v>
                </c:pt>
                <c:pt idx="1">
                  <c:v>0.0016379025521232942</c:v>
                </c:pt>
                <c:pt idx="2">
                  <c:v>0.0010219016343389</c:v>
                </c:pt>
                <c:pt idx="3">
                  <c:v>0.054936688578910986</c:v>
                </c:pt>
                <c:pt idx="4">
                  <c:v>0.03157398195439742</c:v>
                </c:pt>
                <c:pt idx="5">
                  <c:v>0.09592598692938586</c:v>
                </c:pt>
                <c:pt idx="6">
                  <c:v>0.03381598988874469</c:v>
                </c:pt>
                <c:pt idx="7">
                  <c:v>0.1653838562857024</c:v>
                </c:pt>
                <c:pt idx="8">
                  <c:v>0.2663326767582046</c:v>
                </c:pt>
                <c:pt idx="9">
                  <c:v>0.1585108287063665</c:v>
                </c:pt>
                <c:pt idx="10">
                  <c:v>0.188362650152023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9">
                  <c:v>0.001313980858004695</c:v>
                </c:pt>
                <c:pt idx="10">
                  <c:v>0.01483064000460595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5130936481089647</c:v>
                </c:pt>
                <c:pt idx="1">
                  <c:v>0.032843822305474016</c:v>
                </c:pt>
                <c:pt idx="2">
                  <c:v>0.01304152019254488</c:v>
                </c:pt>
                <c:pt idx="3">
                  <c:v>0.06397600215816945</c:v>
                </c:pt>
                <c:pt idx="4">
                  <c:v>0.12726869045828998</c:v>
                </c:pt>
                <c:pt idx="5">
                  <c:v>0.14107703973711477</c:v>
                </c:pt>
                <c:pt idx="6">
                  <c:v>0.362360065413369</c:v>
                </c:pt>
                <c:pt idx="7">
                  <c:v>0.07178886302012032</c:v>
                </c:pt>
                <c:pt idx="8">
                  <c:v>0.1607814740415261</c:v>
                </c:pt>
                <c:pt idx="9">
                  <c:v>0.01172286408217030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21026893100549375</c:v>
                </c:pt>
                <c:pt idx="3">
                  <c:v>0.04916947487787493</c:v>
                </c:pt>
                <c:pt idx="4">
                  <c:v>0.04300793550244326</c:v>
                </c:pt>
                <c:pt idx="5">
                  <c:v>0.0883718839516898</c:v>
                </c:pt>
                <c:pt idx="6">
                  <c:v>0.05587302735061177</c:v>
                </c:pt>
                <c:pt idx="7">
                  <c:v>0.20540382508378988</c:v>
                </c:pt>
                <c:pt idx="8">
                  <c:v>0.36146768532776</c:v>
                </c:pt>
                <c:pt idx="9">
                  <c:v>0.08743893594609325</c:v>
                </c:pt>
                <c:pt idx="10">
                  <c:v>0.10628330882040933</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2450492937243368</c:v>
                </c:pt>
                <c:pt idx="1">
                  <c:v>0.0022320532191512647</c:v>
                </c:pt>
                <c:pt idx="3">
                  <c:v>0.005522170881564549</c:v>
                </c:pt>
                <c:pt idx="5">
                  <c:v>0.03205456820303794</c:v>
                </c:pt>
                <c:pt idx="7">
                  <c:v>0.23745240670836387</c:v>
                </c:pt>
                <c:pt idx="8">
                  <c:v>0.6093957063760579</c:v>
                </c:pt>
                <c:pt idx="9">
                  <c:v>0.01727445109279468</c:v>
                </c:pt>
                <c:pt idx="10">
                  <c:v>0.0948235942253054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8551731978846905</c:v>
                </c:pt>
                <c:pt idx="3">
                  <c:v>0.17813299245834574</c:v>
                </c:pt>
                <c:pt idx="5">
                  <c:v>0.21442455324174367</c:v>
                </c:pt>
                <c:pt idx="7">
                  <c:v>0.011509498510208325</c:v>
                </c:pt>
                <c:pt idx="8">
                  <c:v>0.3229479643269409</c:v>
                </c:pt>
                <c:pt idx="9">
                  <c:v>0.18285423394799405</c:v>
                </c:pt>
                <c:pt idx="10">
                  <c:v>0.00418212024651980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20326372359036796</c:v>
                </c:pt>
                <c:pt idx="3">
                  <c:v>0.07259953780351218</c:v>
                </c:pt>
                <c:pt idx="5">
                  <c:v>0.29716697751487675</c:v>
                </c:pt>
                <c:pt idx="7">
                  <c:v>0.0009108250166122018</c:v>
                </c:pt>
                <c:pt idx="8">
                  <c:v>0.5583253610565228</c:v>
                </c:pt>
                <c:pt idx="9">
                  <c:v>0.04998557335855864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340814542241074</c:v>
                </c:pt>
                <c:pt idx="7">
                  <c:v>0.0785577834586375</c:v>
                </c:pt>
                <c:pt idx="10">
                  <c:v>0.02213966869468540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05081577628435521</c:v>
                </c:pt>
                <c:pt idx="3">
                  <c:v>0.001017348439062198</c:v>
                </c:pt>
                <c:pt idx="4">
                  <c:v>0.08229546761350867</c:v>
                </c:pt>
                <c:pt idx="6">
                  <c:v>0.1301013877493945</c:v>
                </c:pt>
                <c:pt idx="7">
                  <c:v>0.3729079252291104</c:v>
                </c:pt>
                <c:pt idx="8">
                  <c:v>0.013576844917299524</c:v>
                </c:pt>
                <c:pt idx="9">
                  <c:v>0.3924066406143356</c:v>
                </c:pt>
                <c:pt idx="10">
                  <c:v>0.00626627584311420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9">
                  <c:v>0.0008193496303674965</c:v>
                </c:pt>
                <c:pt idx="10">
                  <c:v>0.01293150557293274</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29262381599003958</c:v>
                </c:pt>
                <c:pt idx="1">
                  <c:v>0.06752988254370398</c:v>
                </c:pt>
                <c:pt idx="4">
                  <c:v>0.22654494927316576</c:v>
                </c:pt>
                <c:pt idx="5">
                  <c:v>0.009645079758725906</c:v>
                </c:pt>
                <c:pt idx="6">
                  <c:v>0.46446442441784896</c:v>
                </c:pt>
                <c:pt idx="7">
                  <c:v>0.18869362275035395</c:v>
                </c:pt>
                <c:pt idx="10">
                  <c:v>0.013835303638765041</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1">
                  <c:v>0.003555374201545074</c:v>
                </c:pt>
                <c:pt idx="4">
                  <c:v>0.10056376439324646</c:v>
                </c:pt>
                <c:pt idx="6">
                  <c:v>0.20390060448269487</c:v>
                </c:pt>
                <c:pt idx="7">
                  <c:v>0.5480297958742949</c:v>
                </c:pt>
                <c:pt idx="8">
                  <c:v>0.011403440221557173</c:v>
                </c:pt>
                <c:pt idx="10">
                  <c:v>0.10372738096186646</c:v>
                </c:pt>
                <c:pt idx="11">
                  <c:v>0.0287023598520529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47239854391077266</c:v>
                </c:pt>
                <c:pt idx="8">
                  <c:v>0.8668385919505451</c:v>
                </c:pt>
                <c:pt idx="9">
                  <c:v>0.0853586690376218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467138887234618</c:v>
                </c:pt>
                <c:pt idx="2">
                  <c:v>0.10371095193438469</c:v>
                </c:pt>
                <c:pt idx="3">
                  <c:v>0.013285795569918612</c:v>
                </c:pt>
                <c:pt idx="5">
                  <c:v>0.39936557319765603</c:v>
                </c:pt>
                <c:pt idx="7">
                  <c:v>0.0009439269167876278</c:v>
                </c:pt>
                <c:pt idx="8">
                  <c:v>0.46443195410199767</c:v>
                </c:pt>
                <c:pt idx="9">
                  <c:v>0.01675074747129760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081000088249014</c:v>
                </c:pt>
                <c:pt idx="1">
                  <c:v>0.01905774672580669</c:v>
                </c:pt>
                <c:pt idx="2">
                  <c:v>0.013061519103123722</c:v>
                </c:pt>
                <c:pt idx="3">
                  <c:v>0.06785481107646185</c:v>
                </c:pt>
                <c:pt idx="4">
                  <c:v>0.04562659387291042</c:v>
                </c:pt>
                <c:pt idx="5">
                  <c:v>0.17594240996402155</c:v>
                </c:pt>
                <c:pt idx="6">
                  <c:v>0.059953586010787034</c:v>
                </c:pt>
                <c:pt idx="7">
                  <c:v>0.15629945053556907</c:v>
                </c:pt>
                <c:pt idx="8">
                  <c:v>0.25184260675323467</c:v>
                </c:pt>
                <c:pt idx="9">
                  <c:v>0.08545390975779407</c:v>
                </c:pt>
                <c:pt idx="10">
                  <c:v>0.12010973641082048</c:v>
                </c:pt>
                <c:pt idx="11">
                  <c:v>0.000586396562284361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9611683486752821</c:v>
                </c:pt>
                <c:pt idx="3">
                  <c:v>0.008070268211894027</c:v>
                </c:pt>
                <c:pt idx="5">
                  <c:v>0.0008946847644719398</c:v>
                </c:pt>
                <c:pt idx="8">
                  <c:v>0.008742820588310812</c:v>
                </c:pt>
                <c:pt idx="9">
                  <c:v>0.001563981526882625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425597825452717</c:v>
                </c:pt>
                <c:pt idx="2">
                  <c:v>0.07210901912757897</c:v>
                </c:pt>
                <c:pt idx="3">
                  <c:v>0.12402220207660479</c:v>
                </c:pt>
                <c:pt idx="4">
                  <c:v>0.0005030329775539284</c:v>
                </c:pt>
                <c:pt idx="5">
                  <c:v>0.22171959768659777</c:v>
                </c:pt>
                <c:pt idx="6">
                  <c:v>0.0029994597498183262</c:v>
                </c:pt>
                <c:pt idx="7">
                  <c:v>0.0055040210686961785</c:v>
                </c:pt>
                <c:pt idx="8">
                  <c:v>0.38358536672772303</c:v>
                </c:pt>
                <c:pt idx="9">
                  <c:v>0.16762790765090618</c:v>
                </c:pt>
                <c:pt idx="10">
                  <c:v>0.0016054128463587373</c:v>
                </c:pt>
                <c:pt idx="11">
                  <c:v>0.0038292083048375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4601392266782487</c:v>
                </c:pt>
                <c:pt idx="3">
                  <c:v>0.004040866341890117</c:v>
                </c:pt>
                <c:pt idx="5">
                  <c:v>0.001530209624262619</c:v>
                </c:pt>
                <c:pt idx="8">
                  <c:v>0.00509859989489846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232391085099796</c:v>
                </c:pt>
                <c:pt idx="1">
                  <c:v>0.030029374209639585</c:v>
                </c:pt>
                <c:pt idx="2">
                  <c:v>0.013260072235208328</c:v>
                </c:pt>
                <c:pt idx="3">
                  <c:v>0.041537920103246036</c:v>
                </c:pt>
                <c:pt idx="4">
                  <c:v>0.07556227083183126</c:v>
                </c:pt>
                <c:pt idx="5">
                  <c:v>0.06154028409509541</c:v>
                </c:pt>
                <c:pt idx="6">
                  <c:v>0.1831223576647234</c:v>
                </c:pt>
                <c:pt idx="7">
                  <c:v>0.2679416452737607</c:v>
                </c:pt>
                <c:pt idx="8">
                  <c:v>0.12529305571168425</c:v>
                </c:pt>
                <c:pt idx="9">
                  <c:v>0.11952001296739617</c:v>
                </c:pt>
                <c:pt idx="10">
                  <c:v>0.07383488507536885</c:v>
                </c:pt>
                <c:pt idx="11">
                  <c:v>0.000979246740074128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2134176755931314</c:v>
                </c:pt>
                <c:pt idx="7">
                  <c:v>0.006953228466450294</c:v>
                </c:pt>
                <c:pt idx="10">
                  <c:v>0.00754410613875404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081000088249014</c:v>
                </c:pt>
                <c:pt idx="1">
                  <c:v>0.01905774672580669</c:v>
                </c:pt>
                <c:pt idx="2">
                  <c:v>0.013061519103123722</c:v>
                </c:pt>
                <c:pt idx="3">
                  <c:v>0.06785481107646185</c:v>
                </c:pt>
                <c:pt idx="4">
                  <c:v>0.04562659387291042</c:v>
                </c:pt>
                <c:pt idx="5">
                  <c:v>0.17594240996402155</c:v>
                </c:pt>
                <c:pt idx="6">
                  <c:v>0.059953586010787034</c:v>
                </c:pt>
                <c:pt idx="7">
                  <c:v>0.15629945053556907</c:v>
                </c:pt>
                <c:pt idx="8">
                  <c:v>0.25184260675323467</c:v>
                </c:pt>
                <c:pt idx="9">
                  <c:v>0.08545390975779407</c:v>
                </c:pt>
                <c:pt idx="10">
                  <c:v>0.12010973641082048</c:v>
                </c:pt>
                <c:pt idx="11">
                  <c:v>0.000586396562284361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0023569573067529505</c:v>
                </c:pt>
                <c:pt idx="7">
                  <c:v>0.008724749571436376</c:v>
                </c:pt>
                <c:pt idx="9">
                  <c:v>0.0006748514661496826</c:v>
                </c:pt>
                <c:pt idx="10">
                  <c:v>0.01121692852712513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16425597825452717</c:v>
                </c:pt>
                <c:pt idx="2">
                  <c:v>0.07210901912757897</c:v>
                </c:pt>
                <c:pt idx="3">
                  <c:v>0.12402220207660479</c:v>
                </c:pt>
                <c:pt idx="4">
                  <c:v>0.0005030329775539284</c:v>
                </c:pt>
                <c:pt idx="5">
                  <c:v>0.22171959768659777</c:v>
                </c:pt>
                <c:pt idx="6">
                  <c:v>0.0029994597498183262</c:v>
                </c:pt>
                <c:pt idx="7">
                  <c:v>0.0055040210686961785</c:v>
                </c:pt>
                <c:pt idx="8">
                  <c:v>0.38358536672772303</c:v>
                </c:pt>
                <c:pt idx="9">
                  <c:v>0.16762790765090618</c:v>
                </c:pt>
                <c:pt idx="10">
                  <c:v>0.0016054128463587373</c:v>
                </c:pt>
                <c:pt idx="11">
                  <c:v>0.0038292083048375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6">
                  <c:v>0.0024171011647571264</c:v>
                </c:pt>
                <c:pt idx="7">
                  <c:v>0.006049735615523741</c:v>
                </c:pt>
                <c:pt idx="10">
                  <c:v>0.006684312919529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916103438794086</c:v>
                </c:pt>
                <c:pt idx="1">
                  <c:v>0.01931035187950785</c:v>
                </c:pt>
                <c:pt idx="2">
                  <c:v>0.015668853518267908</c:v>
                </c:pt>
                <c:pt idx="3">
                  <c:v>0.07156373157411233</c:v>
                </c:pt>
                <c:pt idx="4">
                  <c:v>0.04899606423148349</c:v>
                </c:pt>
                <c:pt idx="5">
                  <c:v>0.1741581226481188</c:v>
                </c:pt>
                <c:pt idx="6">
                  <c:v>0.06974954014798469</c:v>
                </c:pt>
                <c:pt idx="7">
                  <c:v>0.1476034189582902</c:v>
                </c:pt>
                <c:pt idx="8">
                  <c:v>0.2597462502277981</c:v>
                </c:pt>
                <c:pt idx="9">
                  <c:v>0.08482160227351104</c:v>
                </c:pt>
                <c:pt idx="10">
                  <c:v>0.10281938118700142</c:v>
                </c:pt>
                <c:pt idx="11">
                  <c:v>0.00063486379337584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4">
                  <c:v>0.005376512596197229</c:v>
                </c:pt>
                <c:pt idx="6">
                  <c:v>0.002787185905345995</c:v>
                </c:pt>
                <c:pt idx="7">
                  <c:v>0.009604411073885856</c:v>
                </c:pt>
                <c:pt idx="9">
                  <c:v>0.00474307585503820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157831972021869</c:v>
                </c:pt>
                <c:pt idx="6">
                  <c:v>0.0701017421469276</c:v>
                </c:pt>
                <c:pt idx="7">
                  <c:v>0.021967721720985125</c:v>
                </c:pt>
                <c:pt idx="9">
                  <c:v>0.052986577548062776</c:v>
                </c:pt>
                <c:pt idx="10">
                  <c:v>0.43453376004045885</c:v>
                </c:pt>
                <c:pt idx="11">
                  <c:v>0.0034472484479923177</c:v>
                </c:pt>
                <c:pt idx="12">
                  <c:v>0.000547874954858679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7403361837539186</c:v>
                </c:pt>
                <c:pt idx="2">
                  <c:v>0.04915668720181369</c:v>
                </c:pt>
                <c:pt idx="3">
                  <c:v>0.015322460926377875</c:v>
                </c:pt>
                <c:pt idx="4">
                  <c:v>0.0036291236589418288</c:v>
                </c:pt>
                <c:pt idx="5">
                  <c:v>0.43551058204344495</c:v>
                </c:pt>
                <c:pt idx="8">
                  <c:v>0.47945154934812423</c:v>
                </c:pt>
                <c:pt idx="9">
                  <c:v>0.01518926063754356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287810242930142</c:v>
                </c:pt>
                <c:pt idx="1">
                  <c:v>0.020023523609660875</c:v>
                </c:pt>
                <c:pt idx="2">
                  <c:v>0.013723429107454667</c:v>
                </c:pt>
                <c:pt idx="3">
                  <c:v>0.07129344466409372</c:v>
                </c:pt>
                <c:pt idx="4">
                  <c:v>0.04793878273161689</c:v>
                </c:pt>
                <c:pt idx="5">
                  <c:v>0.1656881657217858</c:v>
                </c:pt>
                <c:pt idx="6">
                  <c:v>0.059864438195894244</c:v>
                </c:pt>
                <c:pt idx="7">
                  <c:v>0.16391615246101154</c:v>
                </c:pt>
                <c:pt idx="8">
                  <c:v>0.2609160386574467</c:v>
                </c:pt>
                <c:pt idx="9">
                  <c:v>0.08686249520688337</c:v>
                </c:pt>
                <c:pt idx="10">
                  <c:v>0.1052816373234158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4">
                  <c:v>0.008534915836828727</c:v>
                </c:pt>
                <c:pt idx="6">
                  <c:v>0.0020579282678446667</c:v>
                </c:pt>
                <c:pt idx="7">
                  <c:v>0.009331018011554821</c:v>
                </c:pt>
                <c:pt idx="10">
                  <c:v>0.006357870587301926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128333822640951</c:v>
                </c:pt>
                <c:pt idx="6">
                  <c:v>0.06734849459052232</c:v>
                </c:pt>
                <c:pt idx="7">
                  <c:v>0.016386580516175052</c:v>
                </c:pt>
                <c:pt idx="9">
                  <c:v>0.05412728953504454</c:v>
                </c:pt>
                <c:pt idx="10">
                  <c:v>0.4374843927045447</c:v>
                </c:pt>
                <c:pt idx="11">
                  <c:v>0.01181986038961826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71436449174607335</c:v>
                </c:pt>
                <c:pt idx="2">
                  <c:v>0.029401906875188205</c:v>
                </c:pt>
                <c:pt idx="3">
                  <c:v>0.12607359527604595</c:v>
                </c:pt>
                <c:pt idx="5">
                  <c:v>0.25213010765919697</c:v>
                </c:pt>
                <c:pt idx="6">
                  <c:v>0.002457809121343675</c:v>
                </c:pt>
                <c:pt idx="7">
                  <c:v>0.008552129724142214</c:v>
                </c:pt>
                <c:pt idx="8">
                  <c:v>0.3913236406727844</c:v>
                </c:pt>
                <c:pt idx="9">
                  <c:v>0.1757517287919234</c:v>
                </c:pt>
                <c:pt idx="10">
                  <c:v>0.002583863736266491</c:v>
                </c:pt>
                <c:pt idx="11">
                  <c:v>0.00425310559201742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081000088249014</c:v>
                </c:pt>
                <c:pt idx="1">
                  <c:v>0.01905774672580669</c:v>
                </c:pt>
                <c:pt idx="2">
                  <c:v>0.013061519103123722</c:v>
                </c:pt>
                <c:pt idx="3">
                  <c:v>0.06785481107646185</c:v>
                </c:pt>
                <c:pt idx="4">
                  <c:v>0.04562659387291042</c:v>
                </c:pt>
                <c:pt idx="5">
                  <c:v>0.17594240996402155</c:v>
                </c:pt>
                <c:pt idx="6">
                  <c:v>0.059953586010787034</c:v>
                </c:pt>
                <c:pt idx="7">
                  <c:v>0.15629945053556907</c:v>
                </c:pt>
                <c:pt idx="8">
                  <c:v>0.25184260675323467</c:v>
                </c:pt>
                <c:pt idx="9">
                  <c:v>0.08545390975779407</c:v>
                </c:pt>
                <c:pt idx="10">
                  <c:v>0.12010973641082048</c:v>
                </c:pt>
                <c:pt idx="11">
                  <c:v>0.000586396562284361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4">
                  <c:v>0.006663748449336478</c:v>
                </c:pt>
                <c:pt idx="6">
                  <c:v>0.004554180798266048</c:v>
                </c:pt>
                <c:pt idx="7">
                  <c:v>0.010225373496236092</c:v>
                </c:pt>
                <c:pt idx="10">
                  <c:v>0.00585149742883487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346241200463286</c:v>
                </c:pt>
                <c:pt idx="6">
                  <c:v>0.06130635469218953</c:v>
                </c:pt>
                <c:pt idx="7">
                  <c:v>0.025558696901447086</c:v>
                </c:pt>
                <c:pt idx="9">
                  <c:v>0.004820224078680782</c:v>
                </c:pt>
                <c:pt idx="10">
                  <c:v>0.47369060428135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17317326504995634</c:v>
                </c:pt>
                <c:pt idx="2">
                  <c:v>0.0491721026051903</c:v>
                </c:pt>
                <c:pt idx="3">
                  <c:v>0.015327587220883452</c:v>
                </c:pt>
                <c:pt idx="4">
                  <c:v>0.0036267341626128333</c:v>
                </c:pt>
                <c:pt idx="5">
                  <c:v>0.43558655845726546</c:v>
                </c:pt>
                <c:pt idx="8">
                  <c:v>0.4793645137897594</c:v>
                </c:pt>
                <c:pt idx="9">
                  <c:v>0.01519077111378892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0">
                  <c:v>0.004916103438794086</c:v>
                </c:pt>
                <c:pt idx="1">
                  <c:v>0.01931035187950785</c:v>
                </c:pt>
                <c:pt idx="2">
                  <c:v>0.015668853518267908</c:v>
                </c:pt>
                <c:pt idx="3">
                  <c:v>0.07156373157411233</c:v>
                </c:pt>
                <c:pt idx="4">
                  <c:v>0.04899606423148349</c:v>
                </c:pt>
                <c:pt idx="5">
                  <c:v>0.1741581226481188</c:v>
                </c:pt>
                <c:pt idx="6">
                  <c:v>0.06974954014798469</c:v>
                </c:pt>
                <c:pt idx="7">
                  <c:v>0.1476034189582902</c:v>
                </c:pt>
                <c:pt idx="8">
                  <c:v>0.2597462502277981</c:v>
                </c:pt>
                <c:pt idx="9">
                  <c:v>0.08482160227351104</c:v>
                </c:pt>
                <c:pt idx="10">
                  <c:v>0.10281938118700142</c:v>
                </c:pt>
                <c:pt idx="11">
                  <c:v>0.000634863793375847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2">
                  <c:v>0.008653908997109138</c:v>
                </c:pt>
                <c:pt idx="3">
                  <c:v>0.006107817300749283</c:v>
                </c:pt>
                <c:pt idx="5">
                  <c:v>0.004501061785253174</c:v>
                </c:pt>
                <c:pt idx="8">
                  <c:v>0.006913891241966757</c:v>
                </c:pt>
                <c:pt idx="9">
                  <c:v>0.001310073895576393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4</c:f>
              <c:numCache>
                <c:formatCode>General</c:formatCode>
                <c:ptCount val="13"/>
                <c:pt idx="5">
                  <c:v>0.4157831972021869</c:v>
                </c:pt>
                <c:pt idx="6">
                  <c:v>0.0701017421469276</c:v>
                </c:pt>
                <c:pt idx="7">
                  <c:v>0.021967721720985125</c:v>
                </c:pt>
                <c:pt idx="9">
                  <c:v>0.052986577548062776</c:v>
                </c:pt>
                <c:pt idx="10">
                  <c:v>0.43453376004045885</c:v>
                </c:pt>
                <c:pt idx="11">
                  <c:v>0.0034472484479923177</c:v>
                </c:pt>
                <c:pt idx="12">
                  <c:v>0.000547874954858679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 Id="rId7" Type="http://schemas.openxmlformats.org/officeDocument/2006/relationships/chart" Target="../charts/chart82.xml"/><Relationship Id="rId8" Type="http://schemas.openxmlformats.org/officeDocument/2006/relationships/chart" Target="../charts/chart83.xml"/><Relationship Id="rId9" Type="http://schemas.openxmlformats.org/officeDocument/2006/relationships/chart" Target="../charts/chart84.xml"/><Relationship Id="rId10" Type="http://schemas.openxmlformats.org/officeDocument/2006/relationships/chart" Target="../charts/chart85.xml"/><Relationship Id="rId11" Type="http://schemas.openxmlformats.org/officeDocument/2006/relationships/chart" Target="../charts/chart86.xml"/><Relationship Id="rId12" Type="http://schemas.openxmlformats.org/officeDocument/2006/relationships/chart" Target="../charts/chart87.xml"/><Relationship Id="rId13" Type="http://schemas.openxmlformats.org/officeDocument/2006/relationships/chart" Target="../charts/chart88.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 Id="rId7" Type="http://schemas.openxmlformats.org/officeDocument/2006/relationships/chart" Target="../charts/chart106.xml"/><Relationship Id="rId8" Type="http://schemas.openxmlformats.org/officeDocument/2006/relationships/chart" Target="../charts/chart107.xml"/><Relationship Id="rId9" Type="http://schemas.openxmlformats.org/officeDocument/2006/relationships/chart" Target="../charts/chart108.xml"/><Relationship Id="rId10" Type="http://schemas.openxmlformats.org/officeDocument/2006/relationships/chart" Target="../charts/chart109.xml"/><Relationship Id="rId11" Type="http://schemas.openxmlformats.org/officeDocument/2006/relationships/chart" Target="../charts/chart110.xml"/><Relationship Id="rId12" Type="http://schemas.openxmlformats.org/officeDocument/2006/relationships/chart" Target="../charts/chart111.xml"/><Relationship Id="rId13" Type="http://schemas.openxmlformats.org/officeDocument/2006/relationships/chart" Target="../charts/chart112.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xml"/><Relationship Id="rId7" Type="http://schemas.openxmlformats.org/officeDocument/2006/relationships/chart" Target="../charts/chart114.xml"/><Relationship Id="rId8" Type="http://schemas.openxmlformats.org/officeDocument/2006/relationships/chart" Target="../charts/chart115.xml"/><Relationship Id="rId9" Type="http://schemas.openxmlformats.org/officeDocument/2006/relationships/chart" Target="../charts/chart116.xml"/><Relationship Id="rId10" Type="http://schemas.openxmlformats.org/officeDocument/2006/relationships/chart" Target="../charts/chart117.xml"/><Relationship Id="rId11" Type="http://schemas.openxmlformats.org/officeDocument/2006/relationships/chart" Target="../charts/chart118.xml"/><Relationship Id="rId12" Type="http://schemas.openxmlformats.org/officeDocument/2006/relationships/chart" Target="../charts/chart119.xml"/><Relationship Id="rId13" Type="http://schemas.openxmlformats.org/officeDocument/2006/relationships/chart" Target="../charts/chart12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 Id="rId7" Type="http://schemas.openxmlformats.org/officeDocument/2006/relationships/chart" Target="../charts/chart130.xml"/><Relationship Id="rId8" Type="http://schemas.openxmlformats.org/officeDocument/2006/relationships/chart" Target="../charts/chart131.xml"/><Relationship Id="rId9" Type="http://schemas.openxmlformats.org/officeDocument/2006/relationships/chart" Target="../charts/chart132.xml"/><Relationship Id="rId10" Type="http://schemas.openxmlformats.org/officeDocument/2006/relationships/chart" Target="../charts/chart133.xml"/><Relationship Id="rId11" Type="http://schemas.openxmlformats.org/officeDocument/2006/relationships/chart" Target="../charts/chart134.xml"/><Relationship Id="rId12" Type="http://schemas.openxmlformats.org/officeDocument/2006/relationships/chart" Target="../charts/chart135.xml"/><Relationship Id="rId13" Type="http://schemas.openxmlformats.org/officeDocument/2006/relationships/chart" Target="../charts/chart136.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xml"/><Relationship Id="rId7" Type="http://schemas.openxmlformats.org/officeDocument/2006/relationships/chart" Target="../charts/chart138.xml"/><Relationship Id="rId8" Type="http://schemas.openxmlformats.org/officeDocument/2006/relationships/chart" Target="../charts/chart139.xml"/><Relationship Id="rId9" Type="http://schemas.openxmlformats.org/officeDocument/2006/relationships/chart" Target="../charts/chart140.xml"/><Relationship Id="rId10" Type="http://schemas.openxmlformats.org/officeDocument/2006/relationships/chart" Target="../charts/chart141.xml"/><Relationship Id="rId11" Type="http://schemas.openxmlformats.org/officeDocument/2006/relationships/chart" Target="../charts/chart142.xml"/><Relationship Id="rId12" Type="http://schemas.openxmlformats.org/officeDocument/2006/relationships/chart" Target="../charts/chart143.xml"/><Relationship Id="rId13" Type="http://schemas.openxmlformats.org/officeDocument/2006/relationships/chart" Target="../charts/chart144.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 Id="rId8" Type="http://schemas.openxmlformats.org/officeDocument/2006/relationships/chart" Target="../charts/chart11.xml"/><Relationship Id="rId9" Type="http://schemas.openxmlformats.org/officeDocument/2006/relationships/chart" Target="../charts/chart12.xml"/><Relationship Id="rId10" Type="http://schemas.openxmlformats.org/officeDocument/2006/relationships/chart" Target="../charts/chart13.xml"/><Relationship Id="rId11" Type="http://schemas.openxmlformats.org/officeDocument/2006/relationships/chart" Target="../charts/chart14.xml"/><Relationship Id="rId12" Type="http://schemas.openxmlformats.org/officeDocument/2006/relationships/chart" Target="../charts/chart15.xml"/><Relationship Id="rId13" Type="http://schemas.openxmlformats.org/officeDocument/2006/relationships/chart" Target="../charts/chart16.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xml"/><Relationship Id="rId7" Type="http://schemas.openxmlformats.org/officeDocument/2006/relationships/chart" Target="../charts/chart154.xml"/><Relationship Id="rId8" Type="http://schemas.openxmlformats.org/officeDocument/2006/relationships/chart" Target="../charts/chart155.xml"/><Relationship Id="rId9" Type="http://schemas.openxmlformats.org/officeDocument/2006/relationships/chart" Target="../charts/chart156.xml"/><Relationship Id="rId10" Type="http://schemas.openxmlformats.org/officeDocument/2006/relationships/chart" Target="../charts/chart157.xml"/><Relationship Id="rId11" Type="http://schemas.openxmlformats.org/officeDocument/2006/relationships/chart" Target="../charts/chart158.xml"/><Relationship Id="rId12" Type="http://schemas.openxmlformats.org/officeDocument/2006/relationships/chart" Target="../charts/chart159.xml"/><Relationship Id="rId13" Type="http://schemas.openxmlformats.org/officeDocument/2006/relationships/chart" Target="../charts/chart16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xml"/><Relationship Id="rId7" Type="http://schemas.openxmlformats.org/officeDocument/2006/relationships/chart" Target="../charts/chart162.xml"/><Relationship Id="rId8" Type="http://schemas.openxmlformats.org/officeDocument/2006/relationships/chart" Target="../charts/chart163.xml"/><Relationship Id="rId9" Type="http://schemas.openxmlformats.org/officeDocument/2006/relationships/chart" Target="../charts/chart164.xml"/><Relationship Id="rId10" Type="http://schemas.openxmlformats.org/officeDocument/2006/relationships/chart" Target="../charts/chart165.xml"/><Relationship Id="rId11" Type="http://schemas.openxmlformats.org/officeDocument/2006/relationships/chart" Target="../charts/chart166.xml"/><Relationship Id="rId12" Type="http://schemas.openxmlformats.org/officeDocument/2006/relationships/chart" Target="../charts/chart167.xml"/><Relationship Id="rId13" Type="http://schemas.openxmlformats.org/officeDocument/2006/relationships/chart" Target="../charts/chart168.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xml"/><Relationship Id="rId7" Type="http://schemas.openxmlformats.org/officeDocument/2006/relationships/chart" Target="../charts/chart186.xml"/><Relationship Id="rId8" Type="http://schemas.openxmlformats.org/officeDocument/2006/relationships/chart" Target="../charts/chart187.xml"/><Relationship Id="rId9" Type="http://schemas.openxmlformats.org/officeDocument/2006/relationships/chart" Target="../charts/chart188.xml"/><Relationship Id="rId10" Type="http://schemas.openxmlformats.org/officeDocument/2006/relationships/chart" Target="../charts/chart189.xml"/><Relationship Id="rId11" Type="http://schemas.openxmlformats.org/officeDocument/2006/relationships/chart" Target="../charts/chart190.xml"/><Relationship Id="rId12" Type="http://schemas.openxmlformats.org/officeDocument/2006/relationships/chart" Target="../charts/chart191.xml"/><Relationship Id="rId13" Type="http://schemas.openxmlformats.org/officeDocument/2006/relationships/chart" Target="../charts/chart192.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1.xml"/><Relationship Id="rId7" Type="http://schemas.openxmlformats.org/officeDocument/2006/relationships/chart" Target="../charts/chart202.xml"/><Relationship Id="rId8" Type="http://schemas.openxmlformats.org/officeDocument/2006/relationships/chart" Target="../charts/chart203.xml"/><Relationship Id="rId9" Type="http://schemas.openxmlformats.org/officeDocument/2006/relationships/chart" Target="../charts/chart204.xml"/><Relationship Id="rId10" Type="http://schemas.openxmlformats.org/officeDocument/2006/relationships/chart" Target="../charts/chart205.xml"/><Relationship Id="rId11" Type="http://schemas.openxmlformats.org/officeDocument/2006/relationships/chart" Target="../charts/chart206.xml"/><Relationship Id="rId12" Type="http://schemas.openxmlformats.org/officeDocument/2006/relationships/chart" Target="../charts/chart207.xml"/><Relationship Id="rId13" Type="http://schemas.openxmlformats.org/officeDocument/2006/relationships/chart" Target="../charts/chart208.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xml"/><Relationship Id="rId7" Type="http://schemas.openxmlformats.org/officeDocument/2006/relationships/chart" Target="../charts/chart210.xml"/><Relationship Id="rId8" Type="http://schemas.openxmlformats.org/officeDocument/2006/relationships/chart" Target="../charts/chart211.xml"/><Relationship Id="rId9" Type="http://schemas.openxmlformats.org/officeDocument/2006/relationships/chart" Target="../charts/chart212.xml"/><Relationship Id="rId10" Type="http://schemas.openxmlformats.org/officeDocument/2006/relationships/chart" Target="../charts/chart213.xml"/><Relationship Id="rId11" Type="http://schemas.openxmlformats.org/officeDocument/2006/relationships/chart" Target="../charts/chart214.xml"/><Relationship Id="rId12" Type="http://schemas.openxmlformats.org/officeDocument/2006/relationships/chart" Target="../charts/chart215.xml"/><Relationship Id="rId13" Type="http://schemas.openxmlformats.org/officeDocument/2006/relationships/chart" Target="../charts/chart216.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5.xml"/><Relationship Id="rId7" Type="http://schemas.openxmlformats.org/officeDocument/2006/relationships/chart" Target="../charts/chart226.xml"/><Relationship Id="rId8" Type="http://schemas.openxmlformats.org/officeDocument/2006/relationships/chart" Target="../charts/chart227.xml"/><Relationship Id="rId9" Type="http://schemas.openxmlformats.org/officeDocument/2006/relationships/chart" Target="../charts/chart228.xml"/><Relationship Id="rId10" Type="http://schemas.openxmlformats.org/officeDocument/2006/relationships/chart" Target="../charts/chart229.xml"/><Relationship Id="rId11" Type="http://schemas.openxmlformats.org/officeDocument/2006/relationships/chart" Target="../charts/chart230.xml"/><Relationship Id="rId12" Type="http://schemas.openxmlformats.org/officeDocument/2006/relationships/chart" Target="../charts/chart231.xml"/><Relationship Id="rId13" Type="http://schemas.openxmlformats.org/officeDocument/2006/relationships/chart" Target="../charts/chart232.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 Id="rId8" Type="http://schemas.openxmlformats.org/officeDocument/2006/relationships/chart" Target="../charts/chart19.xml"/><Relationship Id="rId9" Type="http://schemas.openxmlformats.org/officeDocument/2006/relationships/chart" Target="../charts/chart20.xml"/><Relationship Id="rId10" Type="http://schemas.openxmlformats.org/officeDocument/2006/relationships/chart" Target="../charts/chart21.xml"/><Relationship Id="rId11" Type="http://schemas.openxmlformats.org/officeDocument/2006/relationships/chart" Target="../charts/chart22.xml"/><Relationship Id="rId12" Type="http://schemas.openxmlformats.org/officeDocument/2006/relationships/chart" Target="../charts/chart23.xml"/><Relationship Id="rId13" Type="http://schemas.openxmlformats.org/officeDocument/2006/relationships/chart" Target="../charts/chart24.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3.xml"/><Relationship Id="rId7" Type="http://schemas.openxmlformats.org/officeDocument/2006/relationships/chart" Target="../charts/chart234.xml"/><Relationship Id="rId8" Type="http://schemas.openxmlformats.org/officeDocument/2006/relationships/chart" Target="../charts/chart235.xml"/><Relationship Id="rId9" Type="http://schemas.openxmlformats.org/officeDocument/2006/relationships/chart" Target="../charts/chart236.xml"/><Relationship Id="rId10" Type="http://schemas.openxmlformats.org/officeDocument/2006/relationships/chart" Target="../charts/chart237.xml"/><Relationship Id="rId11" Type="http://schemas.openxmlformats.org/officeDocument/2006/relationships/chart" Target="../charts/chart238.xml"/><Relationship Id="rId12" Type="http://schemas.openxmlformats.org/officeDocument/2006/relationships/chart" Target="../charts/chart239.xml"/><Relationship Id="rId13" Type="http://schemas.openxmlformats.org/officeDocument/2006/relationships/chart" Target="../charts/chart24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9.xml"/><Relationship Id="rId7" Type="http://schemas.openxmlformats.org/officeDocument/2006/relationships/chart" Target="../charts/chart250.xml"/><Relationship Id="rId8" Type="http://schemas.openxmlformats.org/officeDocument/2006/relationships/chart" Target="../charts/chart251.xml"/><Relationship Id="rId9" Type="http://schemas.openxmlformats.org/officeDocument/2006/relationships/chart" Target="../charts/chart252.xml"/><Relationship Id="rId10" Type="http://schemas.openxmlformats.org/officeDocument/2006/relationships/chart" Target="../charts/chart253.xml"/><Relationship Id="rId11" Type="http://schemas.openxmlformats.org/officeDocument/2006/relationships/chart" Target="../charts/chart254.xml"/><Relationship Id="rId12" Type="http://schemas.openxmlformats.org/officeDocument/2006/relationships/chart" Target="../charts/chart255.xml"/><Relationship Id="rId13" Type="http://schemas.openxmlformats.org/officeDocument/2006/relationships/chart" Target="../charts/chart256.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7.xml"/><Relationship Id="rId7" Type="http://schemas.openxmlformats.org/officeDocument/2006/relationships/chart" Target="../charts/chart258.xml"/><Relationship Id="rId8" Type="http://schemas.openxmlformats.org/officeDocument/2006/relationships/chart" Target="../charts/chart259.xml"/><Relationship Id="rId9" Type="http://schemas.openxmlformats.org/officeDocument/2006/relationships/chart" Target="../charts/chart260.xml"/><Relationship Id="rId10" Type="http://schemas.openxmlformats.org/officeDocument/2006/relationships/chart" Target="../charts/chart261.xml"/><Relationship Id="rId11" Type="http://schemas.openxmlformats.org/officeDocument/2006/relationships/chart" Target="../charts/chart262.xml"/><Relationship Id="rId12" Type="http://schemas.openxmlformats.org/officeDocument/2006/relationships/chart" Target="../charts/chart263.xml"/><Relationship Id="rId13" Type="http://schemas.openxmlformats.org/officeDocument/2006/relationships/chart" Target="../charts/chart264.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xml"/><Relationship Id="rId7" Type="http://schemas.openxmlformats.org/officeDocument/2006/relationships/chart" Target="../charts/chart274.xml"/><Relationship Id="rId8" Type="http://schemas.openxmlformats.org/officeDocument/2006/relationships/chart" Target="../charts/chart275.xml"/><Relationship Id="rId9" Type="http://schemas.openxmlformats.org/officeDocument/2006/relationships/chart" Target="../charts/chart276.xml"/><Relationship Id="rId10" Type="http://schemas.openxmlformats.org/officeDocument/2006/relationships/chart" Target="../charts/chart277.xml"/><Relationship Id="rId11" Type="http://schemas.openxmlformats.org/officeDocument/2006/relationships/chart" Target="../charts/chart278.xml"/><Relationship Id="rId12" Type="http://schemas.openxmlformats.org/officeDocument/2006/relationships/chart" Target="../charts/chart279.xml"/><Relationship Id="rId13" Type="http://schemas.openxmlformats.org/officeDocument/2006/relationships/chart" Target="../charts/chart28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1.xml"/><Relationship Id="rId7" Type="http://schemas.openxmlformats.org/officeDocument/2006/relationships/chart" Target="../charts/chart282.xml"/><Relationship Id="rId8" Type="http://schemas.openxmlformats.org/officeDocument/2006/relationships/chart" Target="../charts/chart283.xml"/><Relationship Id="rId9" Type="http://schemas.openxmlformats.org/officeDocument/2006/relationships/chart" Target="../charts/chart284.xml"/><Relationship Id="rId10" Type="http://schemas.openxmlformats.org/officeDocument/2006/relationships/chart" Target="../charts/chart285.xml"/><Relationship Id="rId11" Type="http://schemas.openxmlformats.org/officeDocument/2006/relationships/chart" Target="../charts/chart286.xml"/><Relationship Id="rId12" Type="http://schemas.openxmlformats.org/officeDocument/2006/relationships/chart" Target="../charts/chart287.xml"/><Relationship Id="rId13" Type="http://schemas.openxmlformats.org/officeDocument/2006/relationships/chart" Target="../charts/chart28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 Id="rId8" Type="http://schemas.openxmlformats.org/officeDocument/2006/relationships/chart" Target="../charts/chart35.xml"/><Relationship Id="rId9" Type="http://schemas.openxmlformats.org/officeDocument/2006/relationships/chart" Target="../charts/chart36.xml"/><Relationship Id="rId10" Type="http://schemas.openxmlformats.org/officeDocument/2006/relationships/chart" Target="../charts/chart37.xml"/><Relationship Id="rId11" Type="http://schemas.openxmlformats.org/officeDocument/2006/relationships/chart" Target="../charts/chart38.xml"/><Relationship Id="rId12" Type="http://schemas.openxmlformats.org/officeDocument/2006/relationships/chart" Target="../charts/chart39.xml"/><Relationship Id="rId13" Type="http://schemas.openxmlformats.org/officeDocument/2006/relationships/chart" Target="../charts/chart4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 Id="rId7" Type="http://schemas.openxmlformats.org/officeDocument/2006/relationships/chart" Target="../charts/chart42.xml"/><Relationship Id="rId8" Type="http://schemas.openxmlformats.org/officeDocument/2006/relationships/chart" Target="../charts/chart43.xml"/><Relationship Id="rId9" Type="http://schemas.openxmlformats.org/officeDocument/2006/relationships/chart" Target="../charts/chart44.xml"/><Relationship Id="rId10" Type="http://schemas.openxmlformats.org/officeDocument/2006/relationships/chart" Target="../charts/chart45.xml"/><Relationship Id="rId11" Type="http://schemas.openxmlformats.org/officeDocument/2006/relationships/chart" Target="../charts/chart46.xml"/><Relationship Id="rId12" Type="http://schemas.openxmlformats.org/officeDocument/2006/relationships/chart" Target="../charts/chart47.xml"/><Relationship Id="rId13" Type="http://schemas.openxmlformats.org/officeDocument/2006/relationships/chart" Target="../charts/chart48.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 Id="rId7" Type="http://schemas.openxmlformats.org/officeDocument/2006/relationships/chart" Target="../charts/chart58.xml"/><Relationship Id="rId8" Type="http://schemas.openxmlformats.org/officeDocument/2006/relationships/chart" Target="../charts/chart59.xml"/><Relationship Id="rId9" Type="http://schemas.openxmlformats.org/officeDocument/2006/relationships/chart" Target="../charts/chart60.xml"/><Relationship Id="rId10" Type="http://schemas.openxmlformats.org/officeDocument/2006/relationships/chart" Target="../charts/chart61.xml"/><Relationship Id="rId11" Type="http://schemas.openxmlformats.org/officeDocument/2006/relationships/chart" Target="../charts/chart62.xml"/><Relationship Id="rId12" Type="http://schemas.openxmlformats.org/officeDocument/2006/relationships/chart" Target="../charts/chart63.xml"/><Relationship Id="rId13" Type="http://schemas.openxmlformats.org/officeDocument/2006/relationships/chart" Target="../charts/chart64.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 Id="rId7" Type="http://schemas.openxmlformats.org/officeDocument/2006/relationships/chart" Target="../charts/chart66.xml"/><Relationship Id="rId8" Type="http://schemas.openxmlformats.org/officeDocument/2006/relationships/chart" Target="../charts/chart67.xml"/><Relationship Id="rId9" Type="http://schemas.openxmlformats.org/officeDocument/2006/relationships/chart" Target="../charts/chart68.xml"/><Relationship Id="rId10" Type="http://schemas.openxmlformats.org/officeDocument/2006/relationships/chart" Target="../charts/chart69.xml"/><Relationship Id="rId11" Type="http://schemas.openxmlformats.org/officeDocument/2006/relationships/chart" Target="../charts/chart70.xml"/><Relationship Id="rId12" Type="http://schemas.openxmlformats.org/officeDocument/2006/relationships/chart" Target="../charts/chart71.xml"/><Relationship Id="rId13" Type="http://schemas.openxmlformats.org/officeDocument/2006/relationships/chart" Target="../charts/char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306726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857629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450123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7817011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094920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040558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4280524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6430774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578542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1808760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6387116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855390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9111287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1073641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7344921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5480944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0481123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6974479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4716231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242732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9558339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2397939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796159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0286346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3629792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7996695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1897282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1570640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1576258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6928092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648540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672653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294363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088153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893496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4"/>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0602">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7467425"/>
                  </a:ext>
                </a:extLst>
              </a:tr>
              <a:tr h="220602">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7469775"/>
                  </a:ext>
                </a:extLst>
              </a:tr>
              <a:tr h="220602">
                <a:tc>
                  <a:txBody>
                    <a:bodyPr/>
                    <a:lstStyle/>
                    <a:p>
                      <a:pPr algn="ctr">
                        <a:defRPr sz="700">
                          <a:latin typeface="Nexa Bold (Headings)"/>
                        </a:defRPr>
                      </a:pPr>
                      <a:r>
                        <a:t>450-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20602">
                <a:tc>
                  <a:txBody>
                    <a:bodyPr/>
                    <a:lstStyle/>
                    <a:p>
                      <a:pPr algn="ctr">
                        <a:defRPr sz="700">
                          <a:latin typeface="Nexa Bold (Headings)"/>
                        </a:defRPr>
                      </a:pPr>
                      <a:r>
                        <a:t>350-4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0602">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20602">
                <a:tc>
                  <a:txBody>
                    <a:bodyPr/>
                    <a:lstStyle/>
                    <a:p>
                      <a:pPr algn="ctr">
                        <a:defRPr sz="700">
                          <a:latin typeface="Nexa Bold (Headings)"/>
                        </a:defRPr>
                      </a:pPr>
                      <a:r>
                        <a:t>250-3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20602">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20602">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20602">
                <a:tc>
                  <a:txBody>
                    <a:bodyPr/>
                    <a:lstStyle/>
                    <a:p>
                      <a:pPr algn="ctr">
                        <a:defRPr sz="700">
                          <a:latin typeface="Nexa Bold (Headings)"/>
                        </a:defRPr>
                      </a:pPr>
                      <a:r>
                        <a:t>150-2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20602">
                <a:tc>
                  <a:txBody>
                    <a:bodyPr/>
                    <a:lstStyle/>
                    <a:p>
                      <a:pPr algn="ctr">
                        <a:defRPr sz="700">
                          <a:latin typeface="Nexa Bold (Headings)"/>
                        </a:defRPr>
                      </a:pPr>
                      <a:r>
                        <a:t>50-1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20602">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20602">
                <a:tc>
                  <a:txBody>
                    <a:bodyPr/>
                    <a:lstStyle/>
                    <a:p>
                      <a:pPr algn="ctr">
                        <a:defRPr sz="700">
                          <a:latin typeface="Nexa Bold (Headings)"/>
                        </a:defRPr>
                      </a:pPr>
                      <a:r>
                        <a:t>0-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20602">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10/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16724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3564</Words>
  <Application>Microsoft Office PowerPoint</Application>
  <PresentationFormat>On-screen Show (16:9)</PresentationFormat>
  <Paragraphs>1260</Paragraphs>
  <Slides>36</Slides>
  <Notes>3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0T14:54: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